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0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1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erverZoom="100000" strictFirstAndLastChars="0" saveSubsetFonts="1">
  <p:sldMasterIdLst>
    <p:sldMasterId id="2147483737" r:id="rId1"/>
    <p:sldMasterId id="2147483720" r:id="rId2"/>
    <p:sldMasterId id="2147483753" r:id="rId3"/>
    <p:sldMasterId id="2147483767" r:id="rId4"/>
    <p:sldMasterId id="2147483781" r:id="rId5"/>
    <p:sldMasterId id="2147483823" r:id="rId6"/>
    <p:sldMasterId id="2147483827" r:id="rId7"/>
    <p:sldMasterId id="2147483884" r:id="rId8"/>
    <p:sldMasterId id="2147483942" r:id="rId9"/>
    <p:sldMasterId id="2147483946" r:id="rId10"/>
    <p:sldMasterId id="2147483992" r:id="rId11"/>
    <p:sldMasterId id="2147483999" r:id="rId12"/>
  </p:sldMasterIdLst>
  <p:notesMasterIdLst>
    <p:notesMasterId r:id="rId20"/>
  </p:notesMasterIdLst>
  <p:handoutMasterIdLst>
    <p:handoutMasterId r:id="rId21"/>
  </p:handoutMasterIdLst>
  <p:sldIdLst>
    <p:sldId id="586" r:id="rId13"/>
    <p:sldId id="580" r:id="rId14"/>
    <p:sldId id="583" r:id="rId15"/>
    <p:sldId id="590" r:id="rId16"/>
    <p:sldId id="584" r:id="rId17"/>
    <p:sldId id="585" r:id="rId18"/>
    <p:sldId id="581" r:id="rId19"/>
  </p:sldIdLst>
  <p:sldSz cx="9144000" cy="6858000" type="screen4x3"/>
  <p:notesSz cx="6799263" cy="9929813"/>
  <p:defaultTextStyle>
    <a:defPPr>
      <a:defRPr lang="es-ES_tradnl"/>
    </a:defPPr>
    <a:lvl1pPr algn="l" rtl="0" fontAlgn="base" hangingPunct="0">
      <a:spcBef>
        <a:spcPct val="0"/>
      </a:spcBef>
      <a:spcAft>
        <a:spcPct val="0"/>
      </a:spcAft>
      <a:defRPr sz="2400" kern="1200">
        <a:solidFill>
          <a:srgbClr val="FFFFFF"/>
        </a:solidFill>
        <a:latin typeface="Telefonica Headline Light" pitchFamily="2" charset="0"/>
        <a:ea typeface="Telefonica Headline Light" pitchFamily="2" charset="0"/>
        <a:cs typeface="Telefonica Headline Light" pitchFamily="2" charset="0"/>
        <a:sym typeface="Telefonica Headline Light" pitchFamily="2" charset="0"/>
      </a:defRPr>
    </a:lvl1pPr>
    <a:lvl2pPr marL="190500" indent="266700" algn="l" rtl="0" fontAlgn="base" hangingPunct="0">
      <a:spcBef>
        <a:spcPct val="0"/>
      </a:spcBef>
      <a:spcAft>
        <a:spcPct val="0"/>
      </a:spcAft>
      <a:defRPr sz="2400" kern="1200">
        <a:solidFill>
          <a:srgbClr val="FFFFFF"/>
        </a:solidFill>
        <a:latin typeface="Telefonica Headline Light" pitchFamily="2" charset="0"/>
        <a:ea typeface="Telefonica Headline Light" pitchFamily="2" charset="0"/>
        <a:cs typeface="Telefonica Headline Light" pitchFamily="2" charset="0"/>
        <a:sym typeface="Telefonica Headline Light" pitchFamily="2" charset="0"/>
      </a:defRPr>
    </a:lvl2pPr>
    <a:lvl3pPr marL="382588" indent="531813" algn="l" rtl="0" fontAlgn="base" hangingPunct="0">
      <a:spcBef>
        <a:spcPct val="0"/>
      </a:spcBef>
      <a:spcAft>
        <a:spcPct val="0"/>
      </a:spcAft>
      <a:defRPr sz="2400" kern="1200">
        <a:solidFill>
          <a:srgbClr val="FFFFFF"/>
        </a:solidFill>
        <a:latin typeface="Telefonica Headline Light" pitchFamily="2" charset="0"/>
        <a:ea typeface="Telefonica Headline Light" pitchFamily="2" charset="0"/>
        <a:cs typeface="Telefonica Headline Light" pitchFamily="2" charset="0"/>
        <a:sym typeface="Telefonica Headline Light" pitchFamily="2" charset="0"/>
      </a:defRPr>
    </a:lvl3pPr>
    <a:lvl4pPr marL="574675" indent="796925" algn="l" rtl="0" fontAlgn="base" hangingPunct="0">
      <a:spcBef>
        <a:spcPct val="0"/>
      </a:spcBef>
      <a:spcAft>
        <a:spcPct val="0"/>
      </a:spcAft>
      <a:defRPr sz="2400" kern="1200">
        <a:solidFill>
          <a:srgbClr val="FFFFFF"/>
        </a:solidFill>
        <a:latin typeface="Telefonica Headline Light" pitchFamily="2" charset="0"/>
        <a:ea typeface="Telefonica Headline Light" pitchFamily="2" charset="0"/>
        <a:cs typeface="Telefonica Headline Light" pitchFamily="2" charset="0"/>
        <a:sym typeface="Telefonica Headline Light" pitchFamily="2" charset="0"/>
      </a:defRPr>
    </a:lvl4pPr>
    <a:lvl5pPr marL="766763" indent="1062038" algn="l" rtl="0" fontAlgn="base" hangingPunct="0">
      <a:spcBef>
        <a:spcPct val="0"/>
      </a:spcBef>
      <a:spcAft>
        <a:spcPct val="0"/>
      </a:spcAft>
      <a:defRPr sz="2400" kern="1200">
        <a:solidFill>
          <a:srgbClr val="FFFFFF"/>
        </a:solidFill>
        <a:latin typeface="Telefonica Headline Light" pitchFamily="2" charset="0"/>
        <a:ea typeface="Telefonica Headline Light" pitchFamily="2" charset="0"/>
        <a:cs typeface="Telefonica Headline Light" pitchFamily="2" charset="0"/>
        <a:sym typeface="Telefonica Headline Light" pitchFamily="2" charset="0"/>
      </a:defRPr>
    </a:lvl5pPr>
    <a:lvl6pPr marL="2286000" algn="l" defTabSz="914400" rtl="0" eaLnBrk="1" latinLnBrk="0" hangingPunct="1">
      <a:defRPr sz="2400" kern="1200">
        <a:solidFill>
          <a:srgbClr val="FFFFFF"/>
        </a:solidFill>
        <a:latin typeface="Telefonica Headline Light" pitchFamily="2" charset="0"/>
        <a:ea typeface="Telefonica Headline Light" pitchFamily="2" charset="0"/>
        <a:cs typeface="Telefonica Headline Light" pitchFamily="2" charset="0"/>
        <a:sym typeface="Telefonica Headline Light" pitchFamily="2" charset="0"/>
      </a:defRPr>
    </a:lvl6pPr>
    <a:lvl7pPr marL="2743200" algn="l" defTabSz="914400" rtl="0" eaLnBrk="1" latinLnBrk="0" hangingPunct="1">
      <a:defRPr sz="2400" kern="1200">
        <a:solidFill>
          <a:srgbClr val="FFFFFF"/>
        </a:solidFill>
        <a:latin typeface="Telefonica Headline Light" pitchFamily="2" charset="0"/>
        <a:ea typeface="Telefonica Headline Light" pitchFamily="2" charset="0"/>
        <a:cs typeface="Telefonica Headline Light" pitchFamily="2" charset="0"/>
        <a:sym typeface="Telefonica Headline Light" pitchFamily="2" charset="0"/>
      </a:defRPr>
    </a:lvl7pPr>
    <a:lvl8pPr marL="3200400" algn="l" defTabSz="914400" rtl="0" eaLnBrk="1" latinLnBrk="0" hangingPunct="1">
      <a:defRPr sz="2400" kern="1200">
        <a:solidFill>
          <a:srgbClr val="FFFFFF"/>
        </a:solidFill>
        <a:latin typeface="Telefonica Headline Light" pitchFamily="2" charset="0"/>
        <a:ea typeface="Telefonica Headline Light" pitchFamily="2" charset="0"/>
        <a:cs typeface="Telefonica Headline Light" pitchFamily="2" charset="0"/>
        <a:sym typeface="Telefonica Headline Light" pitchFamily="2" charset="0"/>
      </a:defRPr>
    </a:lvl8pPr>
    <a:lvl9pPr marL="3657600" algn="l" defTabSz="914400" rtl="0" eaLnBrk="1" latinLnBrk="0" hangingPunct="1">
      <a:defRPr sz="2400" kern="1200">
        <a:solidFill>
          <a:srgbClr val="FFFFFF"/>
        </a:solidFill>
        <a:latin typeface="Telefonica Headline Light" pitchFamily="2" charset="0"/>
        <a:ea typeface="Telefonica Headline Light" pitchFamily="2" charset="0"/>
        <a:cs typeface="Telefonica Headline Light" pitchFamily="2" charset="0"/>
        <a:sym typeface="Telefonica Headline Light" pitchFamily="2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296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5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3DB8"/>
    <a:srgbClr val="F8F8F8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00" autoAdjust="0"/>
    <p:restoredTop sz="86818" autoAdjust="0"/>
  </p:normalViewPr>
  <p:slideViewPr>
    <p:cSldViewPr>
      <p:cViewPr varScale="1">
        <p:scale>
          <a:sx n="99" d="100"/>
          <a:sy n="99" d="100"/>
        </p:scale>
        <p:origin x="1692" y="96"/>
      </p:cViewPr>
      <p:guideLst>
        <p:guide orient="horz" pos="2296"/>
        <p:guide pos="2880"/>
        <p:guide orient="horz" pos="157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-2544" y="-96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834" cy="497047"/>
          </a:xfrm>
          <a:prstGeom prst="rect">
            <a:avLst/>
          </a:prstGeom>
        </p:spPr>
        <p:txBody>
          <a:bodyPr vert="horz" lIns="92208" tIns="46104" rIns="92208" bIns="4610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50810" y="0"/>
            <a:ext cx="2946833" cy="497047"/>
          </a:xfrm>
          <a:prstGeom prst="rect">
            <a:avLst/>
          </a:prstGeom>
        </p:spPr>
        <p:txBody>
          <a:bodyPr vert="horz" lIns="92208" tIns="46104" rIns="92208" bIns="46104" rtlCol="0"/>
          <a:lstStyle>
            <a:lvl1pPr algn="r">
              <a:defRPr sz="1200"/>
            </a:lvl1pPr>
          </a:lstStyle>
          <a:p>
            <a:fld id="{98FC36B6-2049-4B2C-A7B2-DD0BB7DE61BA}" type="datetimeFigureOut">
              <a:rPr lang="en-GB" smtClean="0"/>
              <a:t>09/01/2019</a:t>
            </a:fld>
            <a:endParaRPr lang="en-GB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9432766"/>
            <a:ext cx="2946834" cy="497047"/>
          </a:xfrm>
          <a:prstGeom prst="rect">
            <a:avLst/>
          </a:prstGeom>
        </p:spPr>
        <p:txBody>
          <a:bodyPr vert="horz" lIns="92208" tIns="46104" rIns="92208" bIns="4610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50810" y="9432766"/>
            <a:ext cx="2946833" cy="497047"/>
          </a:xfrm>
          <a:prstGeom prst="rect">
            <a:avLst/>
          </a:prstGeom>
        </p:spPr>
        <p:txBody>
          <a:bodyPr vert="horz" lIns="92208" tIns="46104" rIns="92208" bIns="46104" rtlCol="0" anchor="b"/>
          <a:lstStyle>
            <a:lvl1pPr algn="r">
              <a:defRPr sz="1200"/>
            </a:lvl1pPr>
          </a:lstStyle>
          <a:p>
            <a:fld id="{79EDDF1D-33D1-4169-9724-882A33ABE8A9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94654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917575" y="744538"/>
            <a:ext cx="4965700" cy="3724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0242" name="Rectangle 2"/>
          <p:cNvSpPr>
            <a:spLocks noGrp="1"/>
          </p:cNvSpPr>
          <p:nvPr>
            <p:ph type="body" sz="quarter" idx="3"/>
          </p:nvPr>
        </p:nvSpPr>
        <p:spPr bwMode="auto">
          <a:xfrm>
            <a:off x="906569" y="4716662"/>
            <a:ext cx="4986126" cy="4468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2208" tIns="46104" rIns="92208" bIns="461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noProof="0">
                <a:sym typeface="Avenir" charset="0"/>
              </a:rPr>
              <a:t>Click to edit Master text styles</a:t>
            </a:r>
          </a:p>
          <a:p>
            <a:pPr lvl="1"/>
            <a:r>
              <a:rPr lang="es-ES_tradnl" noProof="0">
                <a:sym typeface="Avenir" charset="0"/>
              </a:rPr>
              <a:t>Second level</a:t>
            </a:r>
          </a:p>
          <a:p>
            <a:pPr lvl="2"/>
            <a:r>
              <a:rPr lang="es-ES_tradnl" noProof="0">
                <a:sym typeface="Avenir" charset="0"/>
              </a:rPr>
              <a:t>Third level</a:t>
            </a:r>
          </a:p>
          <a:p>
            <a:pPr lvl="3"/>
            <a:r>
              <a:rPr lang="es-ES_tradnl" noProof="0">
                <a:sym typeface="Avenir" charset="0"/>
              </a:rPr>
              <a:t>Fourth level</a:t>
            </a:r>
          </a:p>
          <a:p>
            <a:pPr lvl="4"/>
            <a:r>
              <a:rPr lang="es-ES_tradnl" noProof="0">
                <a:sym typeface="Avenir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43082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90500" rtl="0" eaLnBrk="0" fontAlgn="base" hangingPunct="0">
      <a:lnSpc>
        <a:spcPct val="125000"/>
      </a:lnSpc>
      <a:spcBef>
        <a:spcPct val="0"/>
      </a:spcBef>
      <a:spcAft>
        <a:spcPct val="0"/>
      </a:spcAft>
      <a:defRPr sz="1300" kern="1200">
        <a:solidFill>
          <a:srgbClr val="000000"/>
        </a:solidFill>
        <a:latin typeface="Avenir" charset="0"/>
        <a:ea typeface="Avenir" charset="0"/>
        <a:cs typeface="Avenir" charset="0"/>
        <a:sym typeface="Avenir" charset="0"/>
      </a:defRPr>
    </a:lvl1pPr>
    <a:lvl2pPr marL="95250" algn="l" defTabSz="190500" rtl="0" eaLnBrk="0" fontAlgn="base" hangingPunct="0">
      <a:lnSpc>
        <a:spcPct val="125000"/>
      </a:lnSpc>
      <a:spcBef>
        <a:spcPct val="0"/>
      </a:spcBef>
      <a:spcAft>
        <a:spcPct val="0"/>
      </a:spcAft>
      <a:defRPr sz="1300" kern="1200">
        <a:solidFill>
          <a:srgbClr val="000000"/>
        </a:solidFill>
        <a:latin typeface="Avenir" charset="0"/>
        <a:ea typeface="Avenir" charset="0"/>
        <a:cs typeface="Avenir" charset="0"/>
        <a:sym typeface="Avenir" charset="0"/>
      </a:defRPr>
    </a:lvl2pPr>
    <a:lvl3pPr marL="190500" algn="l" defTabSz="190500" rtl="0" eaLnBrk="0" fontAlgn="base" hangingPunct="0">
      <a:lnSpc>
        <a:spcPct val="125000"/>
      </a:lnSpc>
      <a:spcBef>
        <a:spcPct val="0"/>
      </a:spcBef>
      <a:spcAft>
        <a:spcPct val="0"/>
      </a:spcAft>
      <a:defRPr sz="1300" kern="1200">
        <a:solidFill>
          <a:srgbClr val="000000"/>
        </a:solidFill>
        <a:latin typeface="Avenir" charset="0"/>
        <a:ea typeface="Avenir" charset="0"/>
        <a:cs typeface="Avenir" charset="0"/>
        <a:sym typeface="Avenir" charset="0"/>
      </a:defRPr>
    </a:lvl3pPr>
    <a:lvl4pPr marL="287338" algn="l" defTabSz="190500" rtl="0" eaLnBrk="0" fontAlgn="base" hangingPunct="0">
      <a:lnSpc>
        <a:spcPct val="125000"/>
      </a:lnSpc>
      <a:spcBef>
        <a:spcPct val="0"/>
      </a:spcBef>
      <a:spcAft>
        <a:spcPct val="0"/>
      </a:spcAft>
      <a:defRPr sz="1300" kern="1200">
        <a:solidFill>
          <a:srgbClr val="000000"/>
        </a:solidFill>
        <a:latin typeface="Avenir" charset="0"/>
        <a:ea typeface="Avenir" charset="0"/>
        <a:cs typeface="Avenir" charset="0"/>
        <a:sym typeface="Avenir" charset="0"/>
      </a:defRPr>
    </a:lvl4pPr>
    <a:lvl5pPr marL="382588" algn="l" defTabSz="190500" rtl="0" eaLnBrk="0" fontAlgn="base" hangingPunct="0">
      <a:lnSpc>
        <a:spcPct val="125000"/>
      </a:lnSpc>
      <a:spcBef>
        <a:spcPct val="0"/>
      </a:spcBef>
      <a:spcAft>
        <a:spcPct val="0"/>
      </a:spcAft>
      <a:defRPr sz="1300" kern="1200">
        <a:solidFill>
          <a:srgbClr val="000000"/>
        </a:solidFill>
        <a:latin typeface="Avenir" charset="0"/>
        <a:ea typeface="Avenir" charset="0"/>
        <a:cs typeface="Avenir" charset="0"/>
        <a:sym typeface="Avenir" charset="0"/>
      </a:defRPr>
    </a:lvl5pPr>
    <a:lvl6pPr marL="960120" algn="l" defTabSz="384048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6pPr>
    <a:lvl7pPr marL="1152144" algn="l" defTabSz="384048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7pPr>
    <a:lvl8pPr marL="1344168" algn="l" defTabSz="384048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8pPr>
    <a:lvl9pPr marL="1536192" algn="l" defTabSz="384048" rtl="0" eaLnBrk="1" latinLnBrk="0" hangingPunct="1">
      <a:defRPr sz="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300" b="0" i="0" u="none" strike="noStrike" kern="1200" baseline="0" dirty="0">
              <a:solidFill>
                <a:srgbClr val="000000"/>
              </a:solidFill>
              <a:latin typeface="Avenir" charset="0"/>
              <a:sym typeface="Avenir" charset="0"/>
            </a:endParaRP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615134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300" b="0" i="0" u="none" strike="noStrike" kern="1200" baseline="0" dirty="0">
              <a:solidFill>
                <a:srgbClr val="000000"/>
              </a:solidFill>
              <a:latin typeface="Avenir" charset="0"/>
              <a:sym typeface="Avenir" charset="0"/>
            </a:endParaRP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615134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300" b="0" i="0" u="none" strike="noStrike" kern="1200" baseline="0" dirty="0">
              <a:solidFill>
                <a:srgbClr val="000000"/>
              </a:solidFill>
              <a:latin typeface="Avenir" charset="0"/>
              <a:sym typeface="Avenir" charset="0"/>
            </a:endParaRP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615134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300" b="0" i="0" u="none" strike="noStrike" kern="1200" baseline="0" dirty="0">
              <a:solidFill>
                <a:srgbClr val="000000"/>
              </a:solidFill>
              <a:latin typeface="Avenir" charset="0"/>
              <a:sym typeface="Avenir" charset="0"/>
            </a:endParaRP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615134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25615134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61513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  <a:prstGeom prst="rect">
            <a:avLst/>
          </a:prstGeom>
        </p:spPr>
        <p:txBody>
          <a:bodyPr lIns="38405" tIns="19202" rIns="38405" bIns="19202"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38405" tIns="19202" rIns="38405" bIns="19202"/>
          <a:lstStyle>
            <a:lvl1pPr marL="0" indent="0" algn="ctr">
              <a:buNone/>
              <a:defRPr/>
            </a:lvl1pPr>
            <a:lvl2pPr marL="192024" indent="0" algn="ctr">
              <a:buNone/>
              <a:defRPr/>
            </a:lvl2pPr>
            <a:lvl3pPr marL="384048" indent="0" algn="ctr">
              <a:buNone/>
              <a:defRPr/>
            </a:lvl3pPr>
            <a:lvl4pPr marL="576072" indent="0" algn="ctr">
              <a:buNone/>
              <a:defRPr/>
            </a:lvl4pPr>
            <a:lvl5pPr marL="768096" indent="0" algn="ctr">
              <a:buNone/>
              <a:defRPr/>
            </a:lvl5pPr>
            <a:lvl6pPr marL="960120" indent="0" algn="ctr">
              <a:buNone/>
              <a:defRPr/>
            </a:lvl6pPr>
            <a:lvl7pPr marL="1152144" indent="0" algn="ctr">
              <a:buNone/>
              <a:defRPr/>
            </a:lvl7pPr>
            <a:lvl8pPr marL="1344168" indent="0" algn="ctr">
              <a:buNone/>
              <a:defRPr/>
            </a:lvl8pPr>
            <a:lvl9pPr marL="1536192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  <a:endParaRPr lang="es-ES_tradnl"/>
          </a:p>
        </p:txBody>
      </p:sp>
      <p:sp>
        <p:nvSpPr>
          <p:cNvPr id="5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202113" y="6438902"/>
            <a:ext cx="400050" cy="184150"/>
          </a:xfrm>
          <a:prstGeom prst="rect">
            <a:avLst/>
          </a:prstGeom>
        </p:spPr>
        <p:txBody>
          <a:bodyPr/>
          <a:lstStyle>
            <a:lvl1pPr algn="ctr" defTabSz="1209751" hangingPunct="0">
              <a:buClr>
                <a:srgbClr val="FFFFFF"/>
              </a:buClr>
              <a:defRPr sz="1200">
                <a:solidFill>
                  <a:srgbClr val="FFFFFF"/>
                </a:solidFill>
                <a:latin typeface="Trebuchet MS" pitchFamily="34" charset="0"/>
                <a:ea typeface="ヒラギノ角ゴ Pro W3" pitchFamily="123" charset="-128"/>
                <a:cs typeface="+mn-cs"/>
                <a:sym typeface="Trebuchet MS" pitchFamily="34" charset="0"/>
              </a:defRPr>
            </a:lvl1pPr>
          </a:lstStyle>
          <a:p>
            <a:pPr>
              <a:defRPr/>
            </a:pPr>
            <a:fld id="{B1C76A9E-A43B-48CC-9863-D765D17F93F3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06979095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  <a:prstGeom prst="rect">
            <a:avLst/>
          </a:prstGeom>
        </p:spPr>
        <p:txBody>
          <a:bodyPr lIns="38405" tIns="19202" rIns="38405" bIns="19202"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 lIns="38405" tIns="19202" rIns="38405" bIns="19202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287001053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66" indent="0" algn="ctr">
              <a:buNone/>
              <a:defRPr/>
            </a:lvl2pPr>
            <a:lvl3pPr marL="914333" indent="0" algn="ctr">
              <a:buNone/>
              <a:defRPr/>
            </a:lvl3pPr>
            <a:lvl4pPr marL="1371499" indent="0" algn="ctr">
              <a:buNone/>
              <a:defRPr/>
            </a:lvl4pPr>
            <a:lvl5pPr marL="1828666" indent="0" algn="ctr">
              <a:buNone/>
              <a:defRPr/>
            </a:lvl5pPr>
            <a:lvl6pPr marL="2285832" indent="0" algn="ctr">
              <a:buNone/>
              <a:defRPr/>
            </a:lvl6pPr>
            <a:lvl7pPr marL="2742998" indent="0" algn="ctr">
              <a:buNone/>
              <a:defRPr/>
            </a:lvl7pPr>
            <a:lvl8pPr marL="3200164" indent="0" algn="ctr">
              <a:buNone/>
              <a:defRPr/>
            </a:lvl8pPr>
            <a:lvl9pPr marL="3657331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33534420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210330583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66" indent="0">
              <a:buNone/>
              <a:defRPr sz="1800"/>
            </a:lvl2pPr>
            <a:lvl3pPr marL="914333" indent="0">
              <a:buNone/>
              <a:defRPr sz="1600"/>
            </a:lvl3pPr>
            <a:lvl4pPr marL="1371499" indent="0">
              <a:buNone/>
              <a:defRPr sz="1400"/>
            </a:lvl4pPr>
            <a:lvl5pPr marL="1828666" indent="0">
              <a:buNone/>
              <a:defRPr sz="1400"/>
            </a:lvl5pPr>
            <a:lvl6pPr marL="2285832" indent="0">
              <a:buNone/>
              <a:defRPr sz="1400"/>
            </a:lvl6pPr>
            <a:lvl7pPr marL="2742998" indent="0">
              <a:buNone/>
              <a:defRPr sz="1400"/>
            </a:lvl7pPr>
            <a:lvl8pPr marL="3200164" indent="0">
              <a:buNone/>
              <a:defRPr sz="1400"/>
            </a:lvl8pPr>
            <a:lvl9pPr marL="3657331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79938756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779784633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9" indent="0">
              <a:buNone/>
              <a:defRPr sz="1600" b="1"/>
            </a:lvl4pPr>
            <a:lvl5pPr marL="1828666" indent="0">
              <a:buNone/>
              <a:defRPr sz="1600" b="1"/>
            </a:lvl5pPr>
            <a:lvl6pPr marL="2285832" indent="0">
              <a:buNone/>
              <a:defRPr sz="1600" b="1"/>
            </a:lvl6pPr>
            <a:lvl7pPr marL="2742998" indent="0">
              <a:buNone/>
              <a:defRPr sz="1600" b="1"/>
            </a:lvl7pPr>
            <a:lvl8pPr marL="3200164" indent="0">
              <a:buNone/>
              <a:defRPr sz="1600" b="1"/>
            </a:lvl8pPr>
            <a:lvl9pPr marL="3657331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9" indent="0">
              <a:buNone/>
              <a:defRPr sz="1600" b="1"/>
            </a:lvl4pPr>
            <a:lvl5pPr marL="1828666" indent="0">
              <a:buNone/>
              <a:defRPr sz="1600" b="1"/>
            </a:lvl5pPr>
            <a:lvl6pPr marL="2285832" indent="0">
              <a:buNone/>
              <a:defRPr sz="1600" b="1"/>
            </a:lvl6pPr>
            <a:lvl7pPr marL="2742998" indent="0">
              <a:buNone/>
              <a:defRPr sz="1600" b="1"/>
            </a:lvl7pPr>
            <a:lvl8pPr marL="3200164" indent="0">
              <a:buNone/>
              <a:defRPr sz="1600" b="1"/>
            </a:lvl8pPr>
            <a:lvl9pPr marL="3657331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30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522702898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14423421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0883599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2" y="273052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2"/>
          </a:xfrm>
        </p:spPr>
        <p:txBody>
          <a:bodyPr/>
          <a:lstStyle>
            <a:lvl1pPr marL="0" indent="0">
              <a:buNone/>
              <a:defRPr sz="1400"/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9" indent="0">
              <a:buNone/>
              <a:defRPr sz="900"/>
            </a:lvl4pPr>
            <a:lvl5pPr marL="1828666" indent="0">
              <a:buNone/>
              <a:defRPr sz="900"/>
            </a:lvl5pPr>
            <a:lvl6pPr marL="2285832" indent="0">
              <a:buNone/>
              <a:defRPr sz="900"/>
            </a:lvl6pPr>
            <a:lvl7pPr marL="2742998" indent="0">
              <a:buNone/>
              <a:defRPr sz="900"/>
            </a:lvl7pPr>
            <a:lvl8pPr marL="3200164" indent="0">
              <a:buNone/>
              <a:defRPr sz="900"/>
            </a:lvl8pPr>
            <a:lvl9pPr marL="3657331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38628270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7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66" indent="0">
              <a:buNone/>
              <a:defRPr sz="2800"/>
            </a:lvl2pPr>
            <a:lvl3pPr marL="914333" indent="0">
              <a:buNone/>
              <a:defRPr sz="2400"/>
            </a:lvl3pPr>
            <a:lvl4pPr marL="1371499" indent="0">
              <a:buNone/>
              <a:defRPr sz="2000"/>
            </a:lvl4pPr>
            <a:lvl5pPr marL="1828666" indent="0">
              <a:buNone/>
              <a:defRPr sz="2000"/>
            </a:lvl5pPr>
            <a:lvl6pPr marL="2285832" indent="0">
              <a:buNone/>
              <a:defRPr sz="2000"/>
            </a:lvl6pPr>
            <a:lvl7pPr marL="2742998" indent="0">
              <a:buNone/>
              <a:defRPr sz="2000"/>
            </a:lvl7pPr>
            <a:lvl8pPr marL="3200164" indent="0">
              <a:buNone/>
              <a:defRPr sz="2000"/>
            </a:lvl8pPr>
            <a:lvl9pPr marL="3657331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9" indent="0">
              <a:buNone/>
              <a:defRPr sz="900"/>
            </a:lvl4pPr>
            <a:lvl5pPr marL="1828666" indent="0">
              <a:buNone/>
              <a:defRPr sz="900"/>
            </a:lvl5pPr>
            <a:lvl6pPr marL="2285832" indent="0">
              <a:buNone/>
              <a:defRPr sz="900"/>
            </a:lvl6pPr>
            <a:lvl7pPr marL="2742998" indent="0">
              <a:buNone/>
              <a:defRPr sz="900"/>
            </a:lvl7pPr>
            <a:lvl8pPr marL="3200164" indent="0">
              <a:buNone/>
              <a:defRPr sz="900"/>
            </a:lvl8pPr>
            <a:lvl9pPr marL="3657331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55611599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528588558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38405" tIns="19202" rIns="38405" bIns="19202"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115050" cy="5851525"/>
          </a:xfrm>
          <a:prstGeom prst="rect">
            <a:avLst/>
          </a:prstGeom>
        </p:spPr>
        <p:txBody>
          <a:bodyPr vert="eaVert" lIns="38405" tIns="19202" rIns="38405" bIns="19202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327339622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15118" y="115888"/>
            <a:ext cx="2071687" cy="601027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95288" y="115888"/>
            <a:ext cx="6067425" cy="601027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884144343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94255"/>
            <a:ext cx="8229600" cy="408650"/>
          </a:xfrm>
          <a:prstGeom prst="rect">
            <a:avLst/>
          </a:prstGeom>
        </p:spPr>
        <p:txBody>
          <a:bodyPr lIns="91433" tIns="45717" rIns="91433" bIns="45717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9322660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9F8B9A-560A-470D-9EA6-79F5999904E6}" type="slidenum">
              <a:rPr lang="en-US" smtClean="0">
                <a:solidFill>
                  <a:srgbClr val="00C6DA"/>
                </a:solidFill>
              </a:rPr>
              <a:pPr/>
              <a:t>‹Nº›</a:t>
            </a:fld>
            <a:endParaRPr lang="en-US" dirty="0">
              <a:solidFill>
                <a:srgbClr val="00C6DA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460432" y="0"/>
            <a:ext cx="683568" cy="828000"/>
          </a:xfrm>
          <a:prstGeom prst="rect">
            <a:avLst/>
          </a:prstGeom>
          <a:solidFill>
            <a:srgbClr val="005466"/>
          </a:solidFill>
          <a:ln>
            <a:noFill/>
          </a:ln>
        </p:spPr>
        <p:txBody>
          <a:bodyPr lIns="91281" tIns="45643" rIns="91281" bIns="45643"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 flipH="1">
            <a:off x="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Titular de la </a:t>
            </a:r>
            <a:r>
              <a:rPr lang="en-GB" dirty="0" err="1"/>
              <a:t>diapositiva</a:t>
            </a:r>
            <a:r>
              <a:rPr lang="en-GB" dirty="0"/>
              <a:t> (24 </a:t>
            </a:r>
            <a:r>
              <a:rPr lang="en-GB" dirty="0" err="1"/>
              <a:t>puntos</a:t>
            </a:r>
            <a:r>
              <a:rPr lang="en-GB" dirty="0"/>
              <a:t> – 1 o 2 </a:t>
            </a:r>
            <a:r>
              <a:rPr lang="en-GB" dirty="0" err="1"/>
              <a:t>líneas</a:t>
            </a:r>
            <a:r>
              <a:rPr lang="en-GB" dirty="0"/>
              <a:t>)</a:t>
            </a:r>
            <a:endParaRPr lang="en-US" sz="2400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6557642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Títul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6966911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lefónica - Portad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2" descr="Viradas02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6" r="3277"/>
          <a:stretch/>
        </p:blipFill>
        <p:spPr bwMode="auto">
          <a:xfrm>
            <a:off x="0" y="-1287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82820" y="1218581"/>
            <a:ext cx="8229600" cy="914276"/>
          </a:xfrm>
          <a:prstGeom prst="rect">
            <a:avLst/>
          </a:prstGeom>
        </p:spPr>
        <p:txBody>
          <a:bodyPr vert="horz" lIns="91281" tIns="45643" rIns="91281" bIns="45643" rtlCol="0" anchor="ctr">
            <a:noAutofit/>
          </a:bodyPr>
          <a:lstStyle>
            <a:lvl1pPr>
              <a:defRPr sz="30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1.-Portadilla, a 30 </a:t>
            </a:r>
            <a:r>
              <a:rPr lang="en-GB" dirty="0" err="1"/>
              <a:t>puntos</a:t>
            </a:r>
            <a:r>
              <a:rPr lang="en-GB" dirty="0"/>
              <a:t>_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72332" y="2306639"/>
            <a:ext cx="5467507" cy="474290"/>
          </a:xfrm>
          <a:prstGeom prst="rect">
            <a:avLst/>
          </a:prstGeom>
        </p:spPr>
        <p:txBody>
          <a:bodyPr lIns="0" tIns="45643" rIns="91281" bIns="45643">
            <a:noAutofit/>
          </a:bodyPr>
          <a:lstStyle>
            <a:lvl1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secundari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la </a:t>
            </a:r>
            <a:r>
              <a:rPr lang="en-US" dirty="0" err="1"/>
              <a:t>portadilla</a:t>
            </a:r>
            <a:r>
              <a:rPr lang="en-US" dirty="0"/>
              <a:t>, 16 </a:t>
            </a:r>
            <a:r>
              <a:rPr lang="en-US" dirty="0" err="1"/>
              <a:t>puntos</a:t>
            </a:r>
            <a:endParaRPr lang="en-GB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907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281" tIns="45643" rIns="91281" bIns="45643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>
                <a:solidFill>
                  <a:srgbClr val="00C6DA"/>
                </a:solidFill>
              </a:rPr>
              <a:pPr/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  <p:sp>
        <p:nvSpPr>
          <p:cNvPr id="11" name="Slide Number Placeholder 2"/>
          <p:cNvSpPr txBox="1">
            <a:spLocks/>
          </p:cNvSpPr>
          <p:nvPr userDrawn="1"/>
        </p:nvSpPr>
        <p:spPr>
          <a:xfrm>
            <a:off x="4425907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281" tIns="45643" rIns="91281" bIns="45643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 defTabSz="912857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9D9F8B9A-560A-470D-9EA6-79F5999904E6}" type="slidenum">
              <a:rPr lang="en-GB">
                <a:solidFill>
                  <a:srgbClr val="00C6DA"/>
                </a:solidFill>
              </a:rPr>
              <a:pPr defTabSz="912857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005" y="6455370"/>
            <a:ext cx="120650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1444821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9F8B9A-560A-470D-9EA6-79F5999904E6}" type="slidenum">
              <a:rPr lang="en-US" smtClean="0">
                <a:solidFill>
                  <a:srgbClr val="00C6DA"/>
                </a:solidFill>
              </a:rPr>
              <a:pPr/>
              <a:t>‹Nº›</a:t>
            </a:fld>
            <a:endParaRPr lang="en-US" dirty="0">
              <a:solidFill>
                <a:srgbClr val="00C6DA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460432" y="0"/>
            <a:ext cx="683568" cy="828000"/>
          </a:xfrm>
          <a:prstGeom prst="rect">
            <a:avLst/>
          </a:prstGeom>
          <a:solidFill>
            <a:srgbClr val="005466"/>
          </a:solidFill>
          <a:ln>
            <a:noFill/>
          </a:ln>
        </p:spPr>
        <p:txBody>
          <a:bodyPr anchor="ctr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 flipH="1">
            <a:off x="-1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Titular de la </a:t>
            </a:r>
            <a:r>
              <a:rPr lang="en-GB" dirty="0" err="1"/>
              <a:t>diapositiva</a:t>
            </a:r>
            <a:r>
              <a:rPr lang="en-GB" dirty="0"/>
              <a:t> (24 </a:t>
            </a:r>
            <a:r>
              <a:rPr lang="en-GB" dirty="0" err="1"/>
              <a:t>puntos</a:t>
            </a:r>
            <a:r>
              <a:rPr lang="en-GB" dirty="0"/>
              <a:t> – 1 o 2 </a:t>
            </a:r>
            <a:r>
              <a:rPr lang="en-GB" dirty="0" err="1"/>
              <a:t>líneas</a:t>
            </a:r>
            <a:r>
              <a:rPr lang="en-GB" dirty="0"/>
              <a:t>)</a:t>
            </a:r>
            <a:endParaRPr lang="en-US" sz="2400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652942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lefónica - Portad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2" descr="Viradas02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6" r="3277"/>
          <a:stretch/>
        </p:blipFill>
        <p:spPr bwMode="auto">
          <a:xfrm>
            <a:off x="0" y="-1287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82820" y="1218580"/>
            <a:ext cx="8229600" cy="9142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0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1.-Portadilla, a 30 </a:t>
            </a:r>
            <a:r>
              <a:rPr lang="en-GB" dirty="0" err="1"/>
              <a:t>puntos</a:t>
            </a:r>
            <a:r>
              <a:rPr lang="en-GB" dirty="0"/>
              <a:t>_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72332" y="2306638"/>
            <a:ext cx="5467507" cy="47429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secundari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la </a:t>
            </a:r>
            <a:r>
              <a:rPr lang="en-US" dirty="0" err="1"/>
              <a:t>portadilla</a:t>
            </a:r>
            <a:r>
              <a:rPr lang="en-US" dirty="0"/>
              <a:t>, 16 </a:t>
            </a:r>
            <a:r>
              <a:rPr lang="en-US" dirty="0" err="1"/>
              <a:t>puntos</a:t>
            </a:r>
            <a:endParaRPr lang="en-GB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4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>
                <a:solidFill>
                  <a:srgbClr val="00C6DA"/>
                </a:solidFill>
              </a:rPr>
              <a:pPr/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  <p:sp>
        <p:nvSpPr>
          <p:cNvPr id="11" name="Slide Number Placeholder 2"/>
          <p:cNvSpPr txBox="1">
            <a:spLocks/>
          </p:cNvSpPr>
          <p:nvPr userDrawn="1"/>
        </p:nvSpPr>
        <p:spPr>
          <a:xfrm>
            <a:off x="4425884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9D9F8B9A-560A-470D-9EA6-79F5999904E6}" type="slidenum">
              <a:rPr lang="en-GB">
                <a:solidFill>
                  <a:srgbClr val="00C6DA"/>
                </a:solidFill>
              </a:rPr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005" y="6455370"/>
            <a:ext cx="120650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Grupo 15"/>
          <p:cNvGrpSpPr/>
          <p:nvPr userDrawn="1"/>
        </p:nvGrpSpPr>
        <p:grpSpPr>
          <a:xfrm>
            <a:off x="68596" y="6424160"/>
            <a:ext cx="2103461" cy="419839"/>
            <a:chOff x="68592" y="6424152"/>
            <a:chExt cx="2103460" cy="419839"/>
          </a:xfrm>
        </p:grpSpPr>
        <p:grpSp>
          <p:nvGrpSpPr>
            <p:cNvPr id="17" name="Group 5"/>
            <p:cNvGrpSpPr>
              <a:grpSpLocks/>
            </p:cNvGrpSpPr>
            <p:nvPr userDrawn="1"/>
          </p:nvGrpSpPr>
          <p:grpSpPr bwMode="auto">
            <a:xfrm>
              <a:off x="152926" y="6424152"/>
              <a:ext cx="938213" cy="177800"/>
              <a:chOff x="0" y="0"/>
              <a:chExt cx="591" cy="111"/>
            </a:xfrm>
          </p:grpSpPr>
          <p:sp>
            <p:nvSpPr>
              <p:cNvPr id="19" name="AutoShape 3"/>
              <p:cNvSpPr>
                <a:spLocks/>
              </p:cNvSpPr>
              <p:nvPr/>
            </p:nvSpPr>
            <p:spPr bwMode="auto">
              <a:xfrm>
                <a:off x="0" y="0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1600"/>
                  <a:gd name="T154" fmla="*/ 0 h 21600"/>
                  <a:gd name="T155" fmla="*/ 21600 w 21600"/>
                  <a:gd name="T156" fmla="*/ 21600 h 2160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1193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s-ES" sz="1800" dirty="0">
                  <a:latin typeface="Trebuchet MS"/>
                </a:endParaRPr>
              </a:p>
            </p:txBody>
          </p:sp>
          <p:sp>
            <p:nvSpPr>
              <p:cNvPr id="20" name="AutoShape 4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600"/>
                  <a:gd name="T19" fmla="*/ 0 h 21600"/>
                  <a:gd name="T20" fmla="*/ 21600 w 21600"/>
                  <a:gd name="T21" fmla="*/ 21600 h 2160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s-ES" sz="1800" dirty="0">
                  <a:latin typeface="Trebuchet MS"/>
                </a:endParaRPr>
              </a:p>
            </p:txBody>
          </p:sp>
        </p:grpSp>
        <p:sp>
          <p:nvSpPr>
            <p:cNvPr id="18" name="22 CuadroTexto"/>
            <p:cNvSpPr txBox="1"/>
            <p:nvPr userDrawn="1"/>
          </p:nvSpPr>
          <p:spPr>
            <a:xfrm>
              <a:off x="68592" y="6597770"/>
              <a:ext cx="21034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i="1" kern="0" dirty="0"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75272858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ulo Char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685800" y="2636912"/>
            <a:ext cx="8278688" cy="432048"/>
          </a:xfrm>
          <a:prstGeom prst="rect">
            <a:avLst/>
          </a:prstGeom>
        </p:spPr>
        <p:txBody>
          <a:bodyPr/>
          <a:lstStyle>
            <a:lvl1pPr>
              <a:defRPr sz="4000" b="1" i="1" baseline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r>
              <a:rPr lang="es-ES_tradnl" dirty="0"/>
              <a:t>Gobierno, Riesgo y Cumplimient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212976"/>
            <a:ext cx="6400800" cy="57606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Trebuchet MS"/>
                <a:cs typeface="Trebuchet M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Gobierno de la Seguridad</a:t>
            </a:r>
            <a:endParaRPr lang="es-ES" dirty="0"/>
          </a:p>
        </p:txBody>
      </p:sp>
      <p:sp>
        <p:nvSpPr>
          <p:cNvPr id="11" name="TextBox 6"/>
          <p:cNvSpPr txBox="1"/>
          <p:nvPr/>
        </p:nvSpPr>
        <p:spPr bwMode="auto">
          <a:xfrm>
            <a:off x="323851" y="561975"/>
            <a:ext cx="4176142" cy="89255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hangingPunct="1">
              <a:defRPr/>
            </a:pPr>
            <a:r>
              <a:rPr lang="en-US" sz="2000" cap="all" dirty="0">
                <a:solidFill>
                  <a:prstClr val="white"/>
                </a:solidFill>
                <a:latin typeface="Trebuchet MS"/>
                <a:cs typeface="Trebuchet MS"/>
                <a:sym typeface="Gill Sans" charset="0"/>
              </a:rPr>
              <a:t>DEFENSA Y SEGURIDAD </a:t>
            </a:r>
            <a:r>
              <a:rPr lang="en-US" sz="2000" cap="all" dirty="0">
                <a:solidFill>
                  <a:srgbClr val="FFC000"/>
                </a:solidFill>
                <a:latin typeface="Trebuchet MS"/>
                <a:cs typeface="Trebuchet MS"/>
                <a:sym typeface="Gill Sans" charset="0"/>
              </a:rPr>
              <a:t>2015_</a:t>
            </a:r>
          </a:p>
          <a:p>
            <a:pPr hangingPunct="1">
              <a:defRPr/>
            </a:pPr>
            <a:r>
              <a:rPr lang="en-US" sz="1200" cap="all" dirty="0">
                <a:solidFill>
                  <a:srgbClr val="FFC000"/>
                </a:solidFill>
                <a:latin typeface="Trebuchet MS"/>
                <a:cs typeface="Trebuchet MS"/>
                <a:sym typeface="Gill Sans" charset="0"/>
              </a:rPr>
              <a:t>Telefónica España</a:t>
            </a:r>
          </a:p>
          <a:p>
            <a:pPr hangingPunct="1">
              <a:defRPr/>
            </a:pPr>
            <a:endParaRPr lang="en-US" sz="2000" dirty="0">
              <a:solidFill>
                <a:prstClr val="black"/>
              </a:solidFill>
              <a:latin typeface="Trebuchet MS"/>
              <a:cs typeface="Trebuchet MS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143398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o Seccion Li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48479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lefónica - Subsección_1colum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3" descr="Viradas03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6" r="5280"/>
          <a:stretch/>
        </p:blipFill>
        <p:spPr bwMode="auto">
          <a:xfrm>
            <a:off x="0" y="15597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4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>
                <a:solidFill>
                  <a:srgbClr val="00C6DA"/>
                </a:solidFill>
              </a:rPr>
              <a:pPr/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82820" y="1218582"/>
            <a:ext cx="8229600" cy="9142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000" b="0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1.-Título </a:t>
            </a:r>
            <a:r>
              <a:rPr lang="en-GB" dirty="0" err="1"/>
              <a:t>Capítulo</a:t>
            </a:r>
            <a:r>
              <a:rPr lang="en-GB" dirty="0"/>
              <a:t> a 30 </a:t>
            </a:r>
            <a:r>
              <a:rPr lang="en-GB" dirty="0" err="1"/>
              <a:t>puntos</a:t>
            </a:r>
            <a:r>
              <a:rPr lang="en-GB" dirty="0"/>
              <a:t>_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1547664" y="3439336"/>
            <a:ext cx="6984776" cy="205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1pPr>
            <a:lvl2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2pPr>
            <a:lvl3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3pPr>
            <a:lvl4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4pPr>
            <a:lvl5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GB" sz="16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algn="l"/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nterdum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volgus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rectum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vide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s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ubi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pecca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. Si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veteres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ta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miratur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laudatqu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poetas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u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nihil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antefera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nihil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llis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compare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rra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. Si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quaedam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nimis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antique,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si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peraqu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dur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dicer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credit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os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gnav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multa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fatetur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et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sapi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et mecum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faci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et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ova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udica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aequo.Non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quidem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nsector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delendav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carmina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Livi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ss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reor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72329" y="2306640"/>
            <a:ext cx="7560111" cy="47429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spcBef>
                <a:spcPts val="600"/>
              </a:spcBef>
              <a:buNone/>
              <a:defRPr sz="2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1.1 </a:t>
            </a:r>
            <a:r>
              <a:rPr lang="en-US" dirty="0" err="1"/>
              <a:t>Subsección</a:t>
            </a:r>
            <a:r>
              <a:rPr lang="en-US" dirty="0"/>
              <a:t>, a 24 </a:t>
            </a:r>
            <a:r>
              <a:rPr lang="en-US" dirty="0" err="1"/>
              <a:t>puntos</a:t>
            </a:r>
            <a:r>
              <a:rPr lang="en-US" dirty="0"/>
              <a:t>_</a:t>
            </a:r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547614" y="2852939"/>
            <a:ext cx="6984826" cy="288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600">
                <a:solidFill>
                  <a:schemeClr val="accent6"/>
                </a:solidFill>
              </a:defRPr>
            </a:lvl1pPr>
            <a:lvl2pPr marL="762000" indent="0">
              <a:buNone/>
              <a:defRPr/>
            </a:lvl2pPr>
            <a:lvl3pPr marL="1206500" indent="0">
              <a:buNone/>
              <a:defRPr/>
            </a:lvl3pPr>
            <a:lvl4pPr marL="1651000" indent="0">
              <a:buNone/>
              <a:defRPr/>
            </a:lvl4pPr>
            <a:lvl5pPr marL="2095500" indent="0">
              <a:buNone/>
              <a:defRPr/>
            </a:lvl5pPr>
          </a:lstStyle>
          <a:p>
            <a:pPr lvl="0"/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secundari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la </a:t>
            </a:r>
            <a:r>
              <a:rPr lang="en-US" dirty="0" err="1"/>
              <a:t>subsección</a:t>
            </a:r>
            <a:r>
              <a:rPr lang="en-US" dirty="0"/>
              <a:t>, 16 </a:t>
            </a:r>
            <a:r>
              <a:rPr lang="en-US" dirty="0" err="1"/>
              <a:t>puntos</a:t>
            </a:r>
            <a:endParaRPr lang="en-US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004" y="6455370"/>
            <a:ext cx="1206500" cy="330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2899575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11092" y="275237"/>
            <a:ext cx="8336102" cy="661450"/>
          </a:xfrm>
          <a:prstGeom prst="rect">
            <a:avLst/>
          </a:prstGeom>
        </p:spPr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49193" y="1821137"/>
            <a:ext cx="8398005" cy="413400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_tradnl" dirty="0"/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11" hasCustomPrompt="1"/>
          </p:nvPr>
        </p:nvSpPr>
        <p:spPr>
          <a:xfrm>
            <a:off x="411092" y="936226"/>
            <a:ext cx="8336102" cy="6964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350767" indent="0">
              <a:buNone/>
              <a:defRPr>
                <a:solidFill>
                  <a:schemeClr val="tx2"/>
                </a:solidFill>
              </a:defRPr>
            </a:lvl2pPr>
            <a:lvl3pPr marL="715820" indent="0">
              <a:buNone/>
              <a:defRPr>
                <a:solidFill>
                  <a:schemeClr val="tx2"/>
                </a:solidFill>
              </a:defRPr>
            </a:lvl3pPr>
            <a:lvl4pPr marL="1079284" indent="0">
              <a:buNone/>
              <a:defRPr>
                <a:solidFill>
                  <a:schemeClr val="tx2"/>
                </a:solidFill>
              </a:defRPr>
            </a:lvl4pPr>
            <a:lvl5pPr marL="1436401" indent="0">
              <a:buNone/>
              <a:defRPr>
                <a:solidFill>
                  <a:schemeClr val="tx2"/>
                </a:solidFill>
              </a:defRPr>
            </a:lvl5pPr>
          </a:lstStyle>
          <a:p>
            <a:pPr algn="l">
              <a:lnSpc>
                <a:spcPct val="90000"/>
              </a:lnSpc>
            </a:pPr>
            <a:r>
              <a:rPr lang="es-ES_tradnl" sz="2000" b="0">
                <a:solidFill>
                  <a:srgbClr val="61B8CD"/>
                </a:solidFill>
                <a:latin typeface="Arial"/>
                <a:cs typeface="Arial"/>
                <a:sym typeface="Telefonica Headline Light" charset="0"/>
              </a:rPr>
              <a:t>Separadores de Capítulo en versión proyectable y en versión Eco.</a:t>
            </a:r>
            <a:endParaRPr lang="es-ES_tradnl" sz="2000" b="0" dirty="0">
              <a:solidFill>
                <a:srgbClr val="61B8CD"/>
              </a:solidFill>
              <a:latin typeface="Arial"/>
              <a:cs typeface="Arial"/>
              <a:sym typeface="Telefonica Headline Light" charset="0"/>
            </a:endParaRPr>
          </a:p>
        </p:txBody>
      </p:sp>
      <p:pic>
        <p:nvPicPr>
          <p:cNvPr id="10" name="Picture 1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026453"/>
            <a:ext cx="9142412" cy="50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2019225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lefónica - Subsección_1colum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3" descr="Viradas03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6" r="5280"/>
          <a:stretch/>
        </p:blipFill>
        <p:spPr bwMode="auto">
          <a:xfrm>
            <a:off x="0" y="15597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4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1000" smtClean="0">
                <a:solidFill>
                  <a:schemeClr val="accent6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>
                <a:solidFill>
                  <a:srgbClr val="00C6DA"/>
                </a:solidFill>
              </a:rPr>
              <a:pPr/>
              <a:t>‹Nº›</a:t>
            </a:fld>
            <a:endParaRPr lang="en-GB" dirty="0">
              <a:solidFill>
                <a:srgbClr val="00C6DA"/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82820" y="1218582"/>
            <a:ext cx="8229600" cy="9142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000" b="0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1.-Título </a:t>
            </a:r>
            <a:r>
              <a:rPr lang="en-GB" dirty="0" err="1"/>
              <a:t>Capítulo</a:t>
            </a:r>
            <a:r>
              <a:rPr lang="en-GB" dirty="0"/>
              <a:t> a 30 </a:t>
            </a:r>
            <a:r>
              <a:rPr lang="en-GB" dirty="0" err="1"/>
              <a:t>puntos</a:t>
            </a:r>
            <a:r>
              <a:rPr lang="en-GB" dirty="0"/>
              <a:t>_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1547664" y="3439336"/>
            <a:ext cx="6984776" cy="205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1pPr>
            <a:lvl2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2pPr>
            <a:lvl3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3pPr>
            <a:lvl4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4pPr>
            <a:lvl5pPr marL="0" indent="0" algn="l" rtl="0" eaLnBrk="0" fontAlgn="base" hangingPunct="0">
              <a:spcBef>
                <a:spcPts val="600"/>
              </a:spcBef>
              <a:spcAft>
                <a:spcPct val="0"/>
              </a:spcAft>
              <a:buSzPct val="171000"/>
              <a:buFont typeface="Gill Sans" pitchFamily="122" charset="0"/>
              <a:buNone/>
              <a:defRPr lang="en-GB" sz="16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Gill Sans" pitchFamily="12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algn="l"/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nterdum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volgus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rectum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vide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s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ubi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pecca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. Si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veteres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ta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miratur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laudatqu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poetas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u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nihil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antefera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nihil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llis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compare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rra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. Si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quaedam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nimis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antique,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si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peraqu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dur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dicer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credit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os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gnav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multa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fatetur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et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sapi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et mecum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faci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et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ova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udicat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aequo.Non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quidem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insector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delendav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carmina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Livi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esse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 </a:t>
            </a:r>
            <a:r>
              <a:rPr lang="en-US" sz="1200" dirty="0" err="1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reor</a:t>
            </a:r>
            <a:r>
              <a:rPr lang="en-US" sz="1200" dirty="0">
                <a:solidFill>
                  <a:srgbClr val="072534"/>
                </a:solidFill>
                <a:latin typeface="Trebuchet MS" pitchFamily="34" charset="0"/>
                <a:ea typeface="ヒラギノ角ゴ Pro W3" charset="-128"/>
                <a:sym typeface="Trebuchet MS" pitchFamily="34" charset="0"/>
              </a:rPr>
              <a:t>, 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72329" y="2306640"/>
            <a:ext cx="7560111" cy="47429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spcBef>
                <a:spcPts val="600"/>
              </a:spcBef>
              <a:buNone/>
              <a:defRPr sz="2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2pPr>
            <a:lvl3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3pPr>
            <a:lvl4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600"/>
              </a:spcBef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1.1 </a:t>
            </a:r>
            <a:r>
              <a:rPr lang="en-US" dirty="0" err="1"/>
              <a:t>Subsección</a:t>
            </a:r>
            <a:r>
              <a:rPr lang="en-US" dirty="0"/>
              <a:t>, a 24 </a:t>
            </a:r>
            <a:r>
              <a:rPr lang="en-US" dirty="0" err="1"/>
              <a:t>puntos</a:t>
            </a:r>
            <a:r>
              <a:rPr lang="en-US" dirty="0"/>
              <a:t>_</a:t>
            </a:r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547614" y="2852939"/>
            <a:ext cx="6984826" cy="288925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600">
                <a:solidFill>
                  <a:schemeClr val="accent6"/>
                </a:solidFill>
              </a:defRPr>
            </a:lvl1pPr>
            <a:lvl2pPr marL="762000" indent="0">
              <a:buNone/>
              <a:defRPr/>
            </a:lvl2pPr>
            <a:lvl3pPr marL="1206500" indent="0">
              <a:buNone/>
              <a:defRPr/>
            </a:lvl3pPr>
            <a:lvl4pPr marL="1651000" indent="0">
              <a:buNone/>
              <a:defRPr/>
            </a:lvl4pPr>
            <a:lvl5pPr marL="2095500" indent="0">
              <a:buNone/>
              <a:defRPr/>
            </a:lvl5pPr>
          </a:lstStyle>
          <a:p>
            <a:pPr lvl="0"/>
            <a:r>
              <a:rPr lang="en-US" dirty="0" err="1"/>
              <a:t>Texto</a:t>
            </a:r>
            <a:r>
              <a:rPr lang="en-US" dirty="0"/>
              <a:t> </a:t>
            </a:r>
            <a:r>
              <a:rPr lang="en-US" dirty="0" err="1"/>
              <a:t>secundari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la </a:t>
            </a:r>
            <a:r>
              <a:rPr lang="en-US" dirty="0" err="1"/>
              <a:t>subsección</a:t>
            </a:r>
            <a:r>
              <a:rPr lang="en-US" dirty="0"/>
              <a:t>, 16 </a:t>
            </a:r>
            <a:r>
              <a:rPr lang="en-US" dirty="0" err="1"/>
              <a:t>puntos</a:t>
            </a:r>
            <a:endParaRPr lang="en-US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004" y="6455370"/>
            <a:ext cx="1206500" cy="330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528073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11092" y="275237"/>
            <a:ext cx="8336102" cy="661450"/>
          </a:xfrm>
          <a:prstGeom prst="rect">
            <a:avLst/>
          </a:prstGeom>
        </p:spPr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49193" y="1821137"/>
            <a:ext cx="8398005" cy="413400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_tradnl" dirty="0"/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11" hasCustomPrompt="1"/>
          </p:nvPr>
        </p:nvSpPr>
        <p:spPr>
          <a:xfrm>
            <a:off x="411092" y="936226"/>
            <a:ext cx="8336102" cy="6964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350767" indent="0">
              <a:buNone/>
              <a:defRPr>
                <a:solidFill>
                  <a:schemeClr val="tx2"/>
                </a:solidFill>
              </a:defRPr>
            </a:lvl2pPr>
            <a:lvl3pPr marL="715820" indent="0">
              <a:buNone/>
              <a:defRPr>
                <a:solidFill>
                  <a:schemeClr val="tx2"/>
                </a:solidFill>
              </a:defRPr>
            </a:lvl3pPr>
            <a:lvl4pPr marL="1079284" indent="0">
              <a:buNone/>
              <a:defRPr>
                <a:solidFill>
                  <a:schemeClr val="tx2"/>
                </a:solidFill>
              </a:defRPr>
            </a:lvl4pPr>
            <a:lvl5pPr marL="1436401" indent="0">
              <a:buNone/>
              <a:defRPr>
                <a:solidFill>
                  <a:schemeClr val="tx2"/>
                </a:solidFill>
              </a:defRPr>
            </a:lvl5pPr>
          </a:lstStyle>
          <a:p>
            <a:pPr algn="l">
              <a:lnSpc>
                <a:spcPct val="90000"/>
              </a:lnSpc>
            </a:pPr>
            <a:r>
              <a:rPr lang="es-ES_tradnl" sz="2000" b="0">
                <a:solidFill>
                  <a:srgbClr val="61B8CD"/>
                </a:solidFill>
                <a:latin typeface="Arial"/>
                <a:cs typeface="Arial"/>
                <a:sym typeface="Telefonica Headline Light" charset="0"/>
              </a:rPr>
              <a:t>Separadores de Capítulo en versión proyectable y en versión Eco.</a:t>
            </a:r>
            <a:endParaRPr lang="es-ES_tradnl" sz="2000" b="0" dirty="0">
              <a:solidFill>
                <a:srgbClr val="61B8CD"/>
              </a:solidFill>
              <a:latin typeface="Arial"/>
              <a:cs typeface="Arial"/>
              <a:sym typeface="Telefonica Headline Light" charset="0"/>
            </a:endParaRPr>
          </a:p>
        </p:txBody>
      </p:sp>
      <p:pic>
        <p:nvPicPr>
          <p:cNvPr id="10" name="Picture 1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026453"/>
            <a:ext cx="9142412" cy="50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487176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aestra n.º 2 cop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406923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681" y="2130426"/>
            <a:ext cx="7772638" cy="503462"/>
          </a:xfrm>
        </p:spPr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362" y="3886202"/>
            <a:ext cx="6401276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09" indent="0" algn="ctr">
              <a:buNone/>
              <a:defRPr/>
            </a:lvl2pPr>
            <a:lvl3pPr marL="914217" indent="0" algn="ctr">
              <a:buNone/>
              <a:defRPr/>
            </a:lvl3pPr>
            <a:lvl4pPr marL="1371326" indent="0" algn="ctr">
              <a:buNone/>
              <a:defRPr/>
            </a:lvl4pPr>
            <a:lvl5pPr marL="1828434" indent="0" algn="ctr">
              <a:buNone/>
              <a:defRPr/>
            </a:lvl5pPr>
            <a:lvl6pPr marL="2285543" indent="0" algn="ctr">
              <a:buNone/>
              <a:defRPr/>
            </a:lvl6pPr>
            <a:lvl7pPr marL="2742651" indent="0" algn="ctr">
              <a:buNone/>
              <a:defRPr/>
            </a:lvl7pPr>
            <a:lvl8pPr marL="3199760" indent="0" algn="ctr">
              <a:buNone/>
              <a:defRPr/>
            </a:lvl8pPr>
            <a:lvl9pPr marL="3656868" indent="0" algn="ctr">
              <a:buNone/>
              <a:defRPr/>
            </a:lvl9pPr>
          </a:lstStyle>
          <a:p>
            <a:r>
              <a:rPr lang="es-ES_tradnl"/>
              <a:t>Haga clic para modificar el estilo de subtítulo del patrón</a:t>
            </a:r>
          </a:p>
        </p:txBody>
      </p:sp>
      <p:pic>
        <p:nvPicPr>
          <p:cNvPr id="9" name="Picture 1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026453"/>
            <a:ext cx="9142412" cy="50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51846" y="6244546"/>
            <a:ext cx="1149308" cy="41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8232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11092" y="275238"/>
            <a:ext cx="8336102" cy="503462"/>
          </a:xfrm>
        </p:spPr>
        <p:txBody>
          <a:bodyPr/>
          <a:lstStyle>
            <a:lvl1pPr>
              <a:defRPr sz="2799"/>
            </a:lvl1pPr>
          </a:lstStyle>
          <a:p>
            <a:r>
              <a:rPr lang="es-ES_tradnl"/>
              <a:t>Clic para editar título</a:t>
            </a:r>
            <a:endParaRPr lang="es-ES_tradn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5" name="Rectangle 1"/>
          <p:cNvSpPr>
            <a:spLocks/>
          </p:cNvSpPr>
          <p:nvPr userDrawn="1"/>
        </p:nvSpPr>
        <p:spPr bwMode="auto">
          <a:xfrm>
            <a:off x="0" y="2"/>
            <a:ext cx="368236" cy="850733"/>
          </a:xfrm>
          <a:prstGeom prst="rect">
            <a:avLst/>
          </a:prstGeom>
          <a:gradFill rotWithShape="0">
            <a:gsLst>
              <a:gs pos="0">
                <a:srgbClr val="0A1519"/>
              </a:gs>
              <a:gs pos="100000">
                <a:srgbClr val="2A5E77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/>
            <a:endParaRPr lang="es-ES" sz="1200" b="1">
              <a:solidFill>
                <a:srgbClr val="043F52"/>
              </a:solidFill>
              <a:latin typeface="TheSansCorrespondence" charset="0"/>
              <a:ea typeface="ＭＳ Ｐゴシック" charset="0"/>
              <a:cs typeface="Arial" charset="0"/>
            </a:endParaRPr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11" hasCustomPrompt="1"/>
          </p:nvPr>
        </p:nvSpPr>
        <p:spPr>
          <a:xfrm>
            <a:off x="411092" y="936226"/>
            <a:ext cx="8336102" cy="790264"/>
          </a:xfrm>
        </p:spPr>
        <p:txBody>
          <a:bodyPr/>
          <a:lstStyle>
            <a:lvl1pPr marL="0" indent="0">
              <a:buNone/>
              <a:defRPr sz="2000">
                <a:solidFill>
                  <a:srgbClr val="61B8CD"/>
                </a:solidFill>
              </a:defRPr>
            </a:lvl1pPr>
            <a:lvl2pPr marL="350767" indent="0">
              <a:buNone/>
              <a:defRPr sz="2000">
                <a:solidFill>
                  <a:srgbClr val="61B8CD"/>
                </a:solidFill>
              </a:defRPr>
            </a:lvl2pPr>
            <a:lvl3pPr marL="715820" indent="0">
              <a:buNone/>
              <a:defRPr sz="2000">
                <a:solidFill>
                  <a:srgbClr val="61B8CD"/>
                </a:solidFill>
              </a:defRPr>
            </a:lvl3pPr>
            <a:lvl4pPr marL="1079284" indent="0">
              <a:buNone/>
              <a:defRPr sz="2000">
                <a:solidFill>
                  <a:srgbClr val="61B8CD"/>
                </a:solidFill>
              </a:defRPr>
            </a:lvl4pPr>
            <a:lvl5pPr marL="1436401" indent="0">
              <a:buNone/>
              <a:defRPr sz="2000">
                <a:solidFill>
                  <a:srgbClr val="61B8CD"/>
                </a:solidFill>
              </a:defRPr>
            </a:lvl5pPr>
          </a:lstStyle>
          <a:p>
            <a:pPr algn="l">
              <a:lnSpc>
                <a:spcPct val="90000"/>
              </a:lnSpc>
            </a:pPr>
            <a:r>
              <a:rPr lang="es-ES_tradnl" sz="2000" b="0">
                <a:solidFill>
                  <a:srgbClr val="61B8CD"/>
                </a:solidFill>
                <a:latin typeface="Arial"/>
                <a:cs typeface="Arial"/>
                <a:sym typeface="Telefonica Headline Light" charset="0"/>
              </a:rPr>
              <a:t>Separadores de Capítulo en versión proyectable y en versión Eco.</a:t>
            </a:r>
            <a:endParaRPr lang="es-ES_tradnl" sz="2000" b="0" dirty="0">
              <a:solidFill>
                <a:srgbClr val="61B8CD"/>
              </a:solidFill>
              <a:latin typeface="Arial"/>
              <a:cs typeface="Arial"/>
              <a:sym typeface="Telefonica Headline Light" charset="0"/>
            </a:endParaRPr>
          </a:p>
        </p:txBody>
      </p:sp>
      <p:pic>
        <p:nvPicPr>
          <p:cNvPr id="10" name="Picture 1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026453"/>
            <a:ext cx="9142412" cy="50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51846" y="6244546"/>
            <a:ext cx="1149308" cy="412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69835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_tradnl" dirty="0"/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11" hasCustomPrompt="1"/>
          </p:nvPr>
        </p:nvSpPr>
        <p:spPr>
          <a:xfrm>
            <a:off x="411092" y="936226"/>
            <a:ext cx="8336102" cy="696434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350767" indent="0">
              <a:buNone/>
              <a:defRPr>
                <a:solidFill>
                  <a:schemeClr val="tx2"/>
                </a:solidFill>
              </a:defRPr>
            </a:lvl2pPr>
            <a:lvl3pPr marL="715820" indent="0">
              <a:buNone/>
              <a:defRPr>
                <a:solidFill>
                  <a:schemeClr val="tx2"/>
                </a:solidFill>
              </a:defRPr>
            </a:lvl3pPr>
            <a:lvl4pPr marL="1079284" indent="0">
              <a:buNone/>
              <a:defRPr>
                <a:solidFill>
                  <a:schemeClr val="tx2"/>
                </a:solidFill>
              </a:defRPr>
            </a:lvl4pPr>
            <a:lvl5pPr marL="1436401" indent="0">
              <a:buNone/>
              <a:defRPr>
                <a:solidFill>
                  <a:schemeClr val="tx2"/>
                </a:solidFill>
              </a:defRPr>
            </a:lvl5pPr>
          </a:lstStyle>
          <a:p>
            <a:pPr algn="l">
              <a:lnSpc>
                <a:spcPct val="90000"/>
              </a:lnSpc>
            </a:pPr>
            <a:r>
              <a:rPr lang="es-ES_tradnl" sz="2000" b="0">
                <a:solidFill>
                  <a:srgbClr val="61B8CD"/>
                </a:solidFill>
                <a:latin typeface="Arial"/>
                <a:cs typeface="Arial"/>
                <a:sym typeface="Telefonica Headline Light" charset="0"/>
              </a:rPr>
              <a:t>Separadores de Capítulo en versión proyectable y en versión Eco.</a:t>
            </a:r>
            <a:endParaRPr lang="es-ES_tradnl" sz="2000" b="0" dirty="0">
              <a:solidFill>
                <a:srgbClr val="61B8CD"/>
              </a:solidFill>
              <a:latin typeface="Arial"/>
              <a:cs typeface="Arial"/>
              <a:sym typeface="Telefonica Headline Light" charset="0"/>
            </a:endParaRPr>
          </a:p>
        </p:txBody>
      </p:sp>
      <p:pic>
        <p:nvPicPr>
          <p:cNvPr id="10" name="Picture 1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026453"/>
            <a:ext cx="9142412" cy="50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51846" y="6244546"/>
            <a:ext cx="1149308" cy="412381"/>
          </a:xfrm>
          <a:prstGeom prst="rect">
            <a:avLst/>
          </a:prstGeom>
        </p:spPr>
      </p:pic>
      <p:pic>
        <p:nvPicPr>
          <p:cNvPr id="12" name="Imagen 11" descr="Logo TF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011" y="6237146"/>
            <a:ext cx="1168147" cy="419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80112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mage2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5011400" y="8569327"/>
            <a:ext cx="1023938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5" name="AutoShape 4"/>
          <p:cNvSpPr>
            <a:spLocks/>
          </p:cNvSpPr>
          <p:nvPr userDrawn="1"/>
        </p:nvSpPr>
        <p:spPr bwMode="auto">
          <a:xfrm>
            <a:off x="8101013" y="14289"/>
            <a:ext cx="63500" cy="900111"/>
          </a:xfrm>
          <a:custGeom>
            <a:avLst/>
            <a:gdLst>
              <a:gd name="T0" fmla="*/ 31750 w 21600"/>
              <a:gd name="T1" fmla="*/ 552450 h 21600"/>
              <a:gd name="T2" fmla="*/ 31750 w 21600"/>
              <a:gd name="T3" fmla="*/ 552450 h 21600"/>
              <a:gd name="T4" fmla="*/ 31750 w 21600"/>
              <a:gd name="T5" fmla="*/ 552450 h 21600"/>
              <a:gd name="T6" fmla="*/ 31750 w 21600"/>
              <a:gd name="T7" fmla="*/ 552450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gradFill rotWithShape="0">
            <a:gsLst>
              <a:gs pos="0">
                <a:srgbClr val="00CFDD">
                  <a:alpha val="0"/>
                </a:srgbClr>
              </a:gs>
              <a:gs pos="100000">
                <a:srgbClr val="00CFDD"/>
              </a:gs>
            </a:gsLst>
            <a:lin ang="5400000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254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lIns="37805" tIns="37805" rIns="37805" bIns="37805" anchor="ctr"/>
          <a:lstStyle/>
          <a:p>
            <a:pPr defTabSz="1209751">
              <a:buClr>
                <a:srgbClr val="FFFFFF"/>
              </a:buClr>
              <a:defRPr/>
            </a:pPr>
            <a:endParaRPr lang="es-ES">
              <a:latin typeface="+mn-lt"/>
              <a:ea typeface="ヒラギノ角ゴ Pro W3" pitchFamily="123" charset="-128"/>
              <a:cs typeface="+mn-cs"/>
              <a:sym typeface="Trebuchet MS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  <a:prstGeom prst="rect">
            <a:avLst/>
          </a:prstGeom>
        </p:spPr>
        <p:txBody>
          <a:bodyPr lIns="38405" tIns="19202" rIns="38405" bIns="19202"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38405" tIns="19202" rIns="38405" bIns="19202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6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202113" y="6438902"/>
            <a:ext cx="400050" cy="184150"/>
          </a:xfrm>
          <a:prstGeom prst="rect">
            <a:avLst/>
          </a:prstGeom>
        </p:spPr>
        <p:txBody>
          <a:bodyPr/>
          <a:lstStyle>
            <a:lvl1pPr algn="ctr" defTabSz="1209751" hangingPunct="0">
              <a:buClr>
                <a:srgbClr val="FFFFFF"/>
              </a:buClr>
              <a:defRPr sz="1200">
                <a:solidFill>
                  <a:srgbClr val="FFFFFF"/>
                </a:solidFill>
                <a:latin typeface="Trebuchet MS" pitchFamily="34" charset="0"/>
                <a:ea typeface="ヒラギノ角ゴ Pro W3" pitchFamily="123" charset="-128"/>
                <a:cs typeface="+mn-cs"/>
                <a:sym typeface="Trebuchet MS" pitchFamily="34" charset="0"/>
              </a:defRPr>
            </a:lvl1pPr>
          </a:lstStyle>
          <a:p>
            <a:pPr>
              <a:defRPr/>
            </a:pPr>
            <a:fld id="{BA43372D-2B03-4FA9-A981-B02CD0B80FDA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  <p:pic>
        <p:nvPicPr>
          <p:cNvPr id="7" name="Imagen 11" descr="Logo TF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011" y="6330326"/>
            <a:ext cx="943449" cy="339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741809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_tradnl" dirty="0"/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11" hasCustomPrompt="1"/>
          </p:nvPr>
        </p:nvSpPr>
        <p:spPr>
          <a:xfrm>
            <a:off x="411092" y="936226"/>
            <a:ext cx="8336102" cy="696434"/>
          </a:xfr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350767" indent="0">
              <a:buNone/>
              <a:defRPr>
                <a:solidFill>
                  <a:schemeClr val="tx2"/>
                </a:solidFill>
              </a:defRPr>
            </a:lvl2pPr>
            <a:lvl3pPr marL="715820" indent="0">
              <a:buNone/>
              <a:defRPr>
                <a:solidFill>
                  <a:schemeClr val="tx2"/>
                </a:solidFill>
              </a:defRPr>
            </a:lvl3pPr>
            <a:lvl4pPr marL="1079284" indent="0">
              <a:buNone/>
              <a:defRPr>
                <a:solidFill>
                  <a:schemeClr val="tx2"/>
                </a:solidFill>
              </a:defRPr>
            </a:lvl4pPr>
            <a:lvl5pPr marL="1436401" indent="0">
              <a:buNone/>
              <a:defRPr>
                <a:solidFill>
                  <a:schemeClr val="tx2"/>
                </a:solidFill>
              </a:defRPr>
            </a:lvl5pPr>
          </a:lstStyle>
          <a:p>
            <a:pPr algn="l">
              <a:lnSpc>
                <a:spcPct val="90000"/>
              </a:lnSpc>
            </a:pPr>
            <a:r>
              <a:rPr lang="es-ES_tradnl" sz="2000" b="0">
                <a:solidFill>
                  <a:srgbClr val="61B8CD"/>
                </a:solidFill>
                <a:latin typeface="Arial"/>
                <a:cs typeface="Arial"/>
                <a:sym typeface="Telefonica Headline Light" charset="0"/>
              </a:rPr>
              <a:t>Separadores de Capítulo en versión proyectable y en versión Eco.</a:t>
            </a:r>
            <a:endParaRPr lang="es-ES_tradnl" sz="2000" b="0" dirty="0">
              <a:solidFill>
                <a:srgbClr val="61B8CD"/>
              </a:solidFill>
              <a:latin typeface="Arial"/>
              <a:cs typeface="Arial"/>
              <a:sym typeface="Telefonica Headline Light" charset="0"/>
            </a:endParaRPr>
          </a:p>
        </p:txBody>
      </p:sp>
      <p:pic>
        <p:nvPicPr>
          <p:cNvPr id="10" name="Picture 1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026453"/>
            <a:ext cx="9142412" cy="50045"/>
          </a:xfrm>
          <a:prstGeom prst="rect">
            <a:avLst/>
          </a:prstGeom>
          <a:noFill/>
          <a:ln>
            <a:noFill/>
          </a:ln>
          <a:effectLst>
            <a:outerShdw blurRad="28575" dist="25400" dir="5400000" sx="76000" sy="76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n 16" descr="Logo TF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011" y="6237146"/>
            <a:ext cx="1168147" cy="419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24087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190" y="4406901"/>
            <a:ext cx="7772637" cy="688128"/>
          </a:xfrm>
        </p:spPr>
        <p:txBody>
          <a:bodyPr/>
          <a:lstStyle>
            <a:lvl1pPr algn="l">
              <a:defRPr sz="3999" b="1" cap="all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190" y="2906713"/>
            <a:ext cx="7772637" cy="150018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9" indent="0">
              <a:buNone/>
              <a:defRPr sz="1800"/>
            </a:lvl2pPr>
            <a:lvl3pPr marL="914217" indent="0">
              <a:buNone/>
              <a:defRPr sz="1600"/>
            </a:lvl3pPr>
            <a:lvl4pPr marL="1371326" indent="0">
              <a:buNone/>
              <a:defRPr sz="1400"/>
            </a:lvl4pPr>
            <a:lvl5pPr marL="1828434" indent="0">
              <a:buNone/>
              <a:defRPr sz="1400"/>
            </a:lvl5pPr>
            <a:lvl6pPr marL="2285543" indent="0">
              <a:buNone/>
              <a:defRPr sz="1400"/>
            </a:lvl6pPr>
            <a:lvl7pPr marL="2742651" indent="0">
              <a:buNone/>
              <a:defRPr sz="1400"/>
            </a:lvl7pPr>
            <a:lvl8pPr marL="3199760" indent="0">
              <a:buNone/>
              <a:defRPr sz="1400"/>
            </a:lvl8pPr>
            <a:lvl9pPr marL="3656868" indent="0">
              <a:buNone/>
              <a:defRPr sz="14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0301876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349189" y="1341439"/>
            <a:ext cx="4122022" cy="4613274"/>
          </a:xfrm>
        </p:spPr>
        <p:txBody>
          <a:bodyPr/>
          <a:lstStyle>
            <a:lvl1pPr>
              <a:defRPr sz="2799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3590" y="1341439"/>
            <a:ext cx="4123609" cy="4613274"/>
          </a:xfrm>
        </p:spPr>
        <p:txBody>
          <a:bodyPr/>
          <a:lstStyle>
            <a:lvl1pPr>
              <a:defRPr sz="2799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037448726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122" y="274637"/>
            <a:ext cx="8229759" cy="503462"/>
          </a:xfrm>
        </p:spPr>
        <p:txBody>
          <a:bodyPr/>
          <a:lstStyle>
            <a:lvl1pPr>
              <a:defRPr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121" y="1535113"/>
            <a:ext cx="403948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7121" y="2174877"/>
            <a:ext cx="403948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45812" y="1535113"/>
            <a:ext cx="404107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45812" y="2174877"/>
            <a:ext cx="404107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671014342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</p:spTree>
    <p:extLst>
      <p:ext uri="{BB962C8B-B14F-4D97-AF65-F5344CB8AC3E}">
        <p14:creationId xmlns:p14="http://schemas.microsoft.com/office/powerpoint/2010/main" val="1769751602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041711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122" y="1054620"/>
            <a:ext cx="3007791" cy="38048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74429" y="273053"/>
            <a:ext cx="5112450" cy="5853113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457122" y="1435100"/>
            <a:ext cx="3007791" cy="4691062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7" indent="0">
              <a:buNone/>
              <a:defRPr sz="1000"/>
            </a:lvl3pPr>
            <a:lvl4pPr marL="1371326" indent="0">
              <a:buNone/>
              <a:defRPr sz="900"/>
            </a:lvl4pPr>
            <a:lvl5pPr marL="1828434" indent="0">
              <a:buNone/>
              <a:defRPr sz="900"/>
            </a:lvl5pPr>
            <a:lvl6pPr marL="2285543" indent="0">
              <a:buNone/>
              <a:defRPr sz="900"/>
            </a:lvl6pPr>
            <a:lvl7pPr marL="2742651" indent="0">
              <a:buNone/>
              <a:defRPr sz="900"/>
            </a:lvl7pPr>
            <a:lvl8pPr marL="3199760" indent="0">
              <a:buNone/>
              <a:defRPr sz="900"/>
            </a:lvl8pPr>
            <a:lvl9pPr marL="3656868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185369672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1978" y="4986859"/>
            <a:ext cx="5487034" cy="38048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791978" y="612778"/>
            <a:ext cx="5487034" cy="4114800"/>
          </a:xfrm>
        </p:spPr>
        <p:txBody>
          <a:bodyPr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pPr lvl="0"/>
            <a:r>
              <a:rPr lang="es-ES_tradnl" noProof="0"/>
              <a:t>Arrastre la imagen al marcador de posición o haga clic en el icono para agregar</a:t>
            </a:r>
            <a:endParaRPr lang="es-ES" noProof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791978" y="5367338"/>
            <a:ext cx="5487034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7" indent="0">
              <a:buNone/>
              <a:defRPr sz="1000"/>
            </a:lvl3pPr>
            <a:lvl4pPr marL="1371326" indent="0">
              <a:buNone/>
              <a:defRPr sz="900"/>
            </a:lvl4pPr>
            <a:lvl5pPr marL="1828434" indent="0">
              <a:buNone/>
              <a:defRPr sz="900"/>
            </a:lvl5pPr>
            <a:lvl6pPr marL="2285543" indent="0">
              <a:buNone/>
              <a:defRPr sz="900"/>
            </a:lvl6pPr>
            <a:lvl7pPr marL="2742651" indent="0">
              <a:buNone/>
              <a:defRPr sz="900"/>
            </a:lvl7pPr>
            <a:lvl8pPr marL="3199760" indent="0">
              <a:buNone/>
              <a:defRPr sz="900"/>
            </a:lvl8pPr>
            <a:lvl9pPr marL="3656868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8311456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844850086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243733" y="274640"/>
            <a:ext cx="503462" cy="5680074"/>
          </a:xfrm>
        </p:spPr>
        <p:txBody>
          <a:bodyPr vert="eaVert"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349190" y="274640"/>
            <a:ext cx="6147320" cy="5680074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415869469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114" y="4406901"/>
            <a:ext cx="7772400" cy="1362075"/>
          </a:xfrm>
          <a:prstGeom prst="rect">
            <a:avLst/>
          </a:prstGeom>
        </p:spPr>
        <p:txBody>
          <a:bodyPr lIns="38405" tIns="19202" rIns="38405" bIns="19202" anchor="t"/>
          <a:lstStyle>
            <a:lvl1pPr algn="l">
              <a:defRPr sz="1700" b="1" cap="all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114" y="2906712"/>
            <a:ext cx="7772400" cy="1500188"/>
          </a:xfrm>
          <a:prstGeom prst="rect">
            <a:avLst/>
          </a:prstGeom>
        </p:spPr>
        <p:txBody>
          <a:bodyPr lIns="38405" tIns="19202" rIns="38405" bIns="19202" anchor="b"/>
          <a:lstStyle>
            <a:lvl1pPr marL="0" indent="0">
              <a:buNone/>
              <a:defRPr sz="800"/>
            </a:lvl1pPr>
            <a:lvl2pPr marL="192024" indent="0">
              <a:buNone/>
              <a:defRPr sz="800"/>
            </a:lvl2pPr>
            <a:lvl3pPr marL="384048" indent="0">
              <a:buNone/>
              <a:defRPr sz="700"/>
            </a:lvl3pPr>
            <a:lvl4pPr marL="576072" indent="0">
              <a:buNone/>
              <a:defRPr sz="600"/>
            </a:lvl4pPr>
            <a:lvl5pPr marL="768096" indent="0">
              <a:buNone/>
              <a:defRPr sz="600"/>
            </a:lvl5pPr>
            <a:lvl6pPr marL="960120" indent="0">
              <a:buNone/>
              <a:defRPr sz="600"/>
            </a:lvl6pPr>
            <a:lvl7pPr marL="1152144" indent="0">
              <a:buNone/>
              <a:defRPr sz="600"/>
            </a:lvl7pPr>
            <a:lvl8pPr marL="1344168" indent="0">
              <a:buNone/>
              <a:defRPr sz="600"/>
            </a:lvl8pPr>
            <a:lvl9pPr marL="1536192" indent="0">
              <a:buNone/>
              <a:defRPr sz="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202113" y="6438902"/>
            <a:ext cx="400050" cy="1841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CF583C-EF38-4F68-A62F-4592E4B9D4ED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01303773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ítulo y texto e imágenes prediseña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11094" y="274638"/>
            <a:ext cx="7944057" cy="503462"/>
          </a:xfrm>
        </p:spPr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half" idx="1"/>
          </p:nvPr>
        </p:nvSpPr>
        <p:spPr>
          <a:xfrm>
            <a:off x="349189" y="1341439"/>
            <a:ext cx="4122022" cy="4613274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imágenes prediseñadas 3"/>
          <p:cNvSpPr>
            <a:spLocks noGrp="1"/>
          </p:cNvSpPr>
          <p:nvPr>
            <p:ph type="clipArt" sz="half" idx="2"/>
          </p:nvPr>
        </p:nvSpPr>
        <p:spPr>
          <a:xfrm>
            <a:off x="4623590" y="1341439"/>
            <a:ext cx="4123609" cy="4613274"/>
          </a:xfrm>
        </p:spPr>
        <p:txBody>
          <a:bodyPr/>
          <a:lstStyle/>
          <a:p>
            <a:pPr lvl="0"/>
            <a:r>
              <a:rPr lang="es-ES_tradnl" noProof="0"/>
              <a:t>Haga clic en el icono para agregar una imagen prediseñada</a:t>
            </a:r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4110918379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ítulo, text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11094" y="274638"/>
            <a:ext cx="7944057" cy="503462"/>
          </a:xfrm>
        </p:spPr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half" idx="1"/>
          </p:nvPr>
        </p:nvSpPr>
        <p:spPr>
          <a:xfrm>
            <a:off x="349189" y="1341439"/>
            <a:ext cx="4122022" cy="4613274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3590" y="1341439"/>
            <a:ext cx="4123609" cy="4613274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504678617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/>
          <p:cNvSpPr>
            <a:spLocks noGrp="1"/>
          </p:cNvSpPr>
          <p:nvPr>
            <p:ph/>
          </p:nvPr>
        </p:nvSpPr>
        <p:spPr>
          <a:xfrm>
            <a:off x="349193" y="274640"/>
            <a:ext cx="8398005" cy="5680074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006587381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36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66" indent="0" algn="ctr">
              <a:buNone/>
              <a:defRPr/>
            </a:lvl2pPr>
            <a:lvl3pPr marL="914333" indent="0" algn="ctr">
              <a:buNone/>
              <a:defRPr/>
            </a:lvl3pPr>
            <a:lvl4pPr marL="1371499" indent="0" algn="ctr">
              <a:buNone/>
              <a:defRPr/>
            </a:lvl4pPr>
            <a:lvl5pPr marL="1828666" indent="0" algn="ctr">
              <a:buNone/>
              <a:defRPr/>
            </a:lvl5pPr>
            <a:lvl6pPr marL="2285832" indent="0" algn="ctr">
              <a:buNone/>
              <a:defRPr/>
            </a:lvl6pPr>
            <a:lvl7pPr marL="2742998" indent="0" algn="ctr">
              <a:buNone/>
              <a:defRPr/>
            </a:lvl7pPr>
            <a:lvl8pPr marL="3200164" indent="0" algn="ctr">
              <a:buNone/>
              <a:defRPr/>
            </a:lvl8pPr>
            <a:lvl9pPr marL="3657331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76232777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17193906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5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8"/>
            <a:ext cx="7772400" cy="150018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66" indent="0">
              <a:buNone/>
              <a:defRPr sz="1800"/>
            </a:lvl2pPr>
            <a:lvl3pPr marL="914333" indent="0">
              <a:buNone/>
              <a:defRPr sz="1600"/>
            </a:lvl3pPr>
            <a:lvl4pPr marL="1371499" indent="0">
              <a:buNone/>
              <a:defRPr sz="1400"/>
            </a:lvl4pPr>
            <a:lvl5pPr marL="1828666" indent="0">
              <a:buNone/>
              <a:defRPr sz="1400"/>
            </a:lvl5pPr>
            <a:lvl6pPr marL="2285832" indent="0">
              <a:buNone/>
              <a:defRPr sz="1400"/>
            </a:lvl6pPr>
            <a:lvl7pPr marL="2742998" indent="0">
              <a:buNone/>
              <a:defRPr sz="1400"/>
            </a:lvl7pPr>
            <a:lvl8pPr marL="3200164" indent="0">
              <a:buNone/>
              <a:defRPr sz="1400"/>
            </a:lvl8pPr>
            <a:lvl9pPr marL="3657331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934784467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210569114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6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9" indent="0">
              <a:buNone/>
              <a:defRPr sz="1600" b="1"/>
            </a:lvl4pPr>
            <a:lvl5pPr marL="1828666" indent="0">
              <a:buNone/>
              <a:defRPr sz="1600" b="1"/>
            </a:lvl5pPr>
            <a:lvl6pPr marL="2285832" indent="0">
              <a:buNone/>
              <a:defRPr sz="1600" b="1"/>
            </a:lvl6pPr>
            <a:lvl7pPr marL="2742998" indent="0">
              <a:buNone/>
              <a:defRPr sz="1600" b="1"/>
            </a:lvl7pPr>
            <a:lvl8pPr marL="3200164" indent="0">
              <a:buNone/>
              <a:defRPr sz="1600" b="1"/>
            </a:lvl8pPr>
            <a:lvl9pPr marL="3657331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33" y="1535116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9" indent="0">
              <a:buNone/>
              <a:defRPr sz="1600" b="1"/>
            </a:lvl4pPr>
            <a:lvl5pPr marL="1828666" indent="0">
              <a:buNone/>
              <a:defRPr sz="1600" b="1"/>
            </a:lvl5pPr>
            <a:lvl6pPr marL="2285832" indent="0">
              <a:buNone/>
              <a:defRPr sz="1600" b="1"/>
            </a:lvl6pPr>
            <a:lvl7pPr marL="2742998" indent="0">
              <a:buNone/>
              <a:defRPr sz="1600" b="1"/>
            </a:lvl7pPr>
            <a:lvl8pPr marL="3200164" indent="0">
              <a:buNone/>
              <a:defRPr sz="1600" b="1"/>
            </a:lvl8pPr>
            <a:lvl9pPr marL="3657331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33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316268763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729797917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715565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  <a:prstGeom prst="rect">
            <a:avLst/>
          </a:prstGeom>
        </p:spPr>
        <p:txBody>
          <a:bodyPr lIns="38405" tIns="19202" rIns="38405" bIns="19202"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4" y="1600200"/>
            <a:ext cx="4086225" cy="4525963"/>
          </a:xfrm>
          <a:prstGeom prst="rect">
            <a:avLst/>
          </a:prstGeom>
        </p:spPr>
        <p:txBody>
          <a:bodyPr lIns="38405" tIns="19202" rIns="38405" bIns="19202"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00579" y="1600200"/>
            <a:ext cx="4086225" cy="4525963"/>
          </a:xfrm>
          <a:prstGeom prst="rect">
            <a:avLst/>
          </a:prstGeom>
        </p:spPr>
        <p:txBody>
          <a:bodyPr lIns="38405" tIns="19202" rIns="38405" bIns="19202"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502893890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2" y="273052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2" y="1435107"/>
            <a:ext cx="3008313" cy="4691062"/>
          </a:xfrm>
        </p:spPr>
        <p:txBody>
          <a:bodyPr/>
          <a:lstStyle>
            <a:lvl1pPr marL="0" indent="0">
              <a:buNone/>
              <a:defRPr sz="1400"/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9" indent="0">
              <a:buNone/>
              <a:defRPr sz="900"/>
            </a:lvl4pPr>
            <a:lvl5pPr marL="1828666" indent="0">
              <a:buNone/>
              <a:defRPr sz="900"/>
            </a:lvl5pPr>
            <a:lvl6pPr marL="2285832" indent="0">
              <a:buNone/>
              <a:defRPr sz="900"/>
            </a:lvl6pPr>
            <a:lvl7pPr marL="2742998" indent="0">
              <a:buNone/>
              <a:defRPr sz="900"/>
            </a:lvl7pPr>
            <a:lvl8pPr marL="3200164" indent="0">
              <a:buNone/>
              <a:defRPr sz="900"/>
            </a:lvl8pPr>
            <a:lvl9pPr marL="3657331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5651898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7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66" indent="0">
              <a:buNone/>
              <a:defRPr sz="2800"/>
            </a:lvl2pPr>
            <a:lvl3pPr marL="914333" indent="0">
              <a:buNone/>
              <a:defRPr sz="2400"/>
            </a:lvl3pPr>
            <a:lvl4pPr marL="1371499" indent="0">
              <a:buNone/>
              <a:defRPr sz="2000"/>
            </a:lvl4pPr>
            <a:lvl5pPr marL="1828666" indent="0">
              <a:buNone/>
              <a:defRPr sz="2000"/>
            </a:lvl5pPr>
            <a:lvl6pPr marL="2285832" indent="0">
              <a:buNone/>
              <a:defRPr sz="2000"/>
            </a:lvl6pPr>
            <a:lvl7pPr marL="2742998" indent="0">
              <a:buNone/>
              <a:defRPr sz="2000"/>
            </a:lvl7pPr>
            <a:lvl8pPr marL="3200164" indent="0">
              <a:buNone/>
              <a:defRPr sz="2000"/>
            </a:lvl8pPr>
            <a:lvl9pPr marL="3657331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9" indent="0">
              <a:buNone/>
              <a:defRPr sz="900"/>
            </a:lvl4pPr>
            <a:lvl5pPr marL="1828666" indent="0">
              <a:buNone/>
              <a:defRPr sz="900"/>
            </a:lvl5pPr>
            <a:lvl6pPr marL="2285832" indent="0">
              <a:buNone/>
              <a:defRPr sz="900"/>
            </a:lvl6pPr>
            <a:lvl7pPr marL="2742998" indent="0">
              <a:buNone/>
              <a:defRPr sz="900"/>
            </a:lvl7pPr>
            <a:lvl8pPr marL="3200164" indent="0">
              <a:buNone/>
              <a:defRPr sz="900"/>
            </a:lvl8pPr>
            <a:lvl9pPr marL="3657331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0499088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114313147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15128" y="115889"/>
            <a:ext cx="2071687" cy="6010276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95288" y="115889"/>
            <a:ext cx="6067425" cy="6010276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117616024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4264200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lefónica - Títul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0900" y="188640"/>
            <a:ext cx="470297" cy="758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4092623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36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66" indent="0" algn="ctr">
              <a:buNone/>
              <a:defRPr/>
            </a:lvl2pPr>
            <a:lvl3pPr marL="914333" indent="0" algn="ctr">
              <a:buNone/>
              <a:defRPr/>
            </a:lvl3pPr>
            <a:lvl4pPr marL="1371499" indent="0" algn="ctr">
              <a:buNone/>
              <a:defRPr/>
            </a:lvl4pPr>
            <a:lvl5pPr marL="1828666" indent="0" algn="ctr">
              <a:buNone/>
              <a:defRPr/>
            </a:lvl5pPr>
            <a:lvl6pPr marL="2285832" indent="0" algn="ctr">
              <a:buNone/>
              <a:defRPr/>
            </a:lvl6pPr>
            <a:lvl7pPr marL="2742998" indent="0" algn="ctr">
              <a:buNone/>
              <a:defRPr/>
            </a:lvl7pPr>
            <a:lvl8pPr marL="3200164" indent="0" algn="ctr">
              <a:buNone/>
              <a:defRPr/>
            </a:lvl8pPr>
            <a:lvl9pPr marL="3657331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87413125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921084654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5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8"/>
            <a:ext cx="7772400" cy="150018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66" indent="0">
              <a:buNone/>
              <a:defRPr sz="1800"/>
            </a:lvl2pPr>
            <a:lvl3pPr marL="914333" indent="0">
              <a:buNone/>
              <a:defRPr sz="1600"/>
            </a:lvl3pPr>
            <a:lvl4pPr marL="1371499" indent="0">
              <a:buNone/>
              <a:defRPr sz="1400"/>
            </a:lvl4pPr>
            <a:lvl5pPr marL="1828666" indent="0">
              <a:buNone/>
              <a:defRPr sz="1400"/>
            </a:lvl5pPr>
            <a:lvl6pPr marL="2285832" indent="0">
              <a:buNone/>
              <a:defRPr sz="1400"/>
            </a:lvl6pPr>
            <a:lvl7pPr marL="2742998" indent="0">
              <a:buNone/>
              <a:defRPr sz="1400"/>
            </a:lvl7pPr>
            <a:lvl8pPr marL="3200164" indent="0">
              <a:buNone/>
              <a:defRPr sz="1400"/>
            </a:lvl8pPr>
            <a:lvl9pPr marL="3657331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41095292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98255045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  <a:prstGeom prst="rect">
            <a:avLst/>
          </a:prstGeom>
        </p:spPr>
        <p:txBody>
          <a:bodyPr lIns="38405" tIns="19202" rIns="38405" bIns="19202"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386" cy="639762"/>
          </a:xfrm>
          <a:prstGeom prst="rect">
            <a:avLst/>
          </a:prstGeom>
        </p:spPr>
        <p:txBody>
          <a:bodyPr lIns="38405" tIns="19202" rIns="38405" bIns="19202" anchor="b"/>
          <a:lstStyle>
            <a:lvl1pPr marL="0" indent="0">
              <a:buNone/>
              <a:defRPr sz="1000" b="1"/>
            </a:lvl1pPr>
            <a:lvl2pPr marL="192024" indent="0">
              <a:buNone/>
              <a:defRPr sz="800" b="1"/>
            </a:lvl2pPr>
            <a:lvl3pPr marL="384048" indent="0">
              <a:buNone/>
              <a:defRPr sz="800" b="1"/>
            </a:lvl3pPr>
            <a:lvl4pPr marL="576072" indent="0">
              <a:buNone/>
              <a:defRPr sz="700" b="1"/>
            </a:lvl4pPr>
            <a:lvl5pPr marL="768096" indent="0">
              <a:buNone/>
              <a:defRPr sz="700" b="1"/>
            </a:lvl5pPr>
            <a:lvl6pPr marL="960120" indent="0">
              <a:buNone/>
              <a:defRPr sz="700" b="1"/>
            </a:lvl6pPr>
            <a:lvl7pPr marL="1152144" indent="0">
              <a:buNone/>
              <a:defRPr sz="700" b="1"/>
            </a:lvl7pPr>
            <a:lvl8pPr marL="1344168" indent="0">
              <a:buNone/>
              <a:defRPr sz="700" b="1"/>
            </a:lvl8pPr>
            <a:lvl9pPr marL="1536192" indent="0">
              <a:buNone/>
              <a:defRPr sz="7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386" cy="3951288"/>
          </a:xfrm>
          <a:prstGeom prst="rect">
            <a:avLst/>
          </a:prstGeom>
        </p:spPr>
        <p:txBody>
          <a:bodyPr lIns="38405" tIns="19202" rIns="38405" bIns="19202"/>
          <a:lstStyle>
            <a:lvl1pPr>
              <a:defRPr sz="1000"/>
            </a:lvl1pPr>
            <a:lvl2pPr>
              <a:defRPr sz="8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  <a:lvl6pPr>
              <a:defRPr sz="700"/>
            </a:lvl6pPr>
            <a:lvl7pPr>
              <a:defRPr sz="700"/>
            </a:lvl7pPr>
            <a:lvl8pPr>
              <a:defRPr sz="700"/>
            </a:lvl8pPr>
            <a:lvl9pPr>
              <a:defRPr sz="7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224" y="1535113"/>
            <a:ext cx="4041576" cy="639762"/>
          </a:xfrm>
          <a:prstGeom prst="rect">
            <a:avLst/>
          </a:prstGeom>
        </p:spPr>
        <p:txBody>
          <a:bodyPr lIns="38405" tIns="19202" rIns="38405" bIns="19202" anchor="b"/>
          <a:lstStyle>
            <a:lvl1pPr marL="0" indent="0">
              <a:buNone/>
              <a:defRPr sz="1000" b="1"/>
            </a:lvl1pPr>
            <a:lvl2pPr marL="192024" indent="0">
              <a:buNone/>
              <a:defRPr sz="800" b="1"/>
            </a:lvl2pPr>
            <a:lvl3pPr marL="384048" indent="0">
              <a:buNone/>
              <a:defRPr sz="800" b="1"/>
            </a:lvl3pPr>
            <a:lvl4pPr marL="576072" indent="0">
              <a:buNone/>
              <a:defRPr sz="700" b="1"/>
            </a:lvl4pPr>
            <a:lvl5pPr marL="768096" indent="0">
              <a:buNone/>
              <a:defRPr sz="700" b="1"/>
            </a:lvl5pPr>
            <a:lvl6pPr marL="960120" indent="0">
              <a:buNone/>
              <a:defRPr sz="700" b="1"/>
            </a:lvl6pPr>
            <a:lvl7pPr marL="1152144" indent="0">
              <a:buNone/>
              <a:defRPr sz="700" b="1"/>
            </a:lvl7pPr>
            <a:lvl8pPr marL="1344168" indent="0">
              <a:buNone/>
              <a:defRPr sz="700" b="1"/>
            </a:lvl8pPr>
            <a:lvl9pPr marL="1536192" indent="0">
              <a:buNone/>
              <a:defRPr sz="7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224" y="2174877"/>
            <a:ext cx="4041576" cy="3951288"/>
          </a:xfrm>
          <a:prstGeom prst="rect">
            <a:avLst/>
          </a:prstGeom>
        </p:spPr>
        <p:txBody>
          <a:bodyPr lIns="38405" tIns="19202" rIns="38405" bIns="19202"/>
          <a:lstStyle>
            <a:lvl1pPr>
              <a:defRPr sz="1000"/>
            </a:lvl1pPr>
            <a:lvl2pPr>
              <a:defRPr sz="8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  <a:lvl6pPr>
              <a:defRPr sz="700"/>
            </a:lvl6pPr>
            <a:lvl7pPr>
              <a:defRPr sz="700"/>
            </a:lvl7pPr>
            <a:lvl8pPr>
              <a:defRPr sz="700"/>
            </a:lvl8pPr>
            <a:lvl9pPr>
              <a:defRPr sz="7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7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202113" y="6438902"/>
            <a:ext cx="400050" cy="1841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F7E8A2-227A-406C-B78C-FC71778DF716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5680520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6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9" indent="0">
              <a:buNone/>
              <a:defRPr sz="1600" b="1"/>
            </a:lvl4pPr>
            <a:lvl5pPr marL="1828666" indent="0">
              <a:buNone/>
              <a:defRPr sz="1600" b="1"/>
            </a:lvl5pPr>
            <a:lvl6pPr marL="2285832" indent="0">
              <a:buNone/>
              <a:defRPr sz="1600" b="1"/>
            </a:lvl6pPr>
            <a:lvl7pPr marL="2742998" indent="0">
              <a:buNone/>
              <a:defRPr sz="1600" b="1"/>
            </a:lvl7pPr>
            <a:lvl8pPr marL="3200164" indent="0">
              <a:buNone/>
              <a:defRPr sz="1600" b="1"/>
            </a:lvl8pPr>
            <a:lvl9pPr marL="3657331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33" y="1535116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9" indent="0">
              <a:buNone/>
              <a:defRPr sz="1600" b="1"/>
            </a:lvl4pPr>
            <a:lvl5pPr marL="1828666" indent="0">
              <a:buNone/>
              <a:defRPr sz="1600" b="1"/>
            </a:lvl5pPr>
            <a:lvl6pPr marL="2285832" indent="0">
              <a:buNone/>
              <a:defRPr sz="1600" b="1"/>
            </a:lvl6pPr>
            <a:lvl7pPr marL="2742998" indent="0">
              <a:buNone/>
              <a:defRPr sz="1600" b="1"/>
            </a:lvl7pPr>
            <a:lvl8pPr marL="3200164" indent="0">
              <a:buNone/>
              <a:defRPr sz="1600" b="1"/>
            </a:lvl8pPr>
            <a:lvl9pPr marL="3657331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33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209763930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56661579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0841723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2" y="273052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2" y="1435107"/>
            <a:ext cx="3008313" cy="4691062"/>
          </a:xfrm>
        </p:spPr>
        <p:txBody>
          <a:bodyPr/>
          <a:lstStyle>
            <a:lvl1pPr marL="0" indent="0">
              <a:buNone/>
              <a:defRPr sz="1400"/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9" indent="0">
              <a:buNone/>
              <a:defRPr sz="900"/>
            </a:lvl4pPr>
            <a:lvl5pPr marL="1828666" indent="0">
              <a:buNone/>
              <a:defRPr sz="900"/>
            </a:lvl5pPr>
            <a:lvl6pPr marL="2285832" indent="0">
              <a:buNone/>
              <a:defRPr sz="900"/>
            </a:lvl6pPr>
            <a:lvl7pPr marL="2742998" indent="0">
              <a:buNone/>
              <a:defRPr sz="900"/>
            </a:lvl7pPr>
            <a:lvl8pPr marL="3200164" indent="0">
              <a:buNone/>
              <a:defRPr sz="900"/>
            </a:lvl8pPr>
            <a:lvl9pPr marL="3657331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184680398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7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66" indent="0">
              <a:buNone/>
              <a:defRPr sz="2800"/>
            </a:lvl2pPr>
            <a:lvl3pPr marL="914333" indent="0">
              <a:buNone/>
              <a:defRPr sz="2400"/>
            </a:lvl3pPr>
            <a:lvl4pPr marL="1371499" indent="0">
              <a:buNone/>
              <a:defRPr sz="2000"/>
            </a:lvl4pPr>
            <a:lvl5pPr marL="1828666" indent="0">
              <a:buNone/>
              <a:defRPr sz="2000"/>
            </a:lvl5pPr>
            <a:lvl6pPr marL="2285832" indent="0">
              <a:buNone/>
              <a:defRPr sz="2000"/>
            </a:lvl6pPr>
            <a:lvl7pPr marL="2742998" indent="0">
              <a:buNone/>
              <a:defRPr sz="2000"/>
            </a:lvl7pPr>
            <a:lvl8pPr marL="3200164" indent="0">
              <a:buNone/>
              <a:defRPr sz="2000"/>
            </a:lvl8pPr>
            <a:lvl9pPr marL="3657331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9" indent="0">
              <a:buNone/>
              <a:defRPr sz="900"/>
            </a:lvl4pPr>
            <a:lvl5pPr marL="1828666" indent="0">
              <a:buNone/>
              <a:defRPr sz="900"/>
            </a:lvl5pPr>
            <a:lvl6pPr marL="2285832" indent="0">
              <a:buNone/>
              <a:defRPr sz="900"/>
            </a:lvl6pPr>
            <a:lvl7pPr marL="2742998" indent="0">
              <a:buNone/>
              <a:defRPr sz="900"/>
            </a:lvl7pPr>
            <a:lvl8pPr marL="3200164" indent="0">
              <a:buNone/>
              <a:defRPr sz="900"/>
            </a:lvl8pPr>
            <a:lvl9pPr marL="3657331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58447243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910661419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15128" y="115889"/>
            <a:ext cx="2071687" cy="6010276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95288" y="115889"/>
            <a:ext cx="6067425" cy="6010276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1110250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94255"/>
            <a:ext cx="8229600" cy="408650"/>
          </a:xfrm>
          <a:prstGeom prst="rect">
            <a:avLst/>
          </a:prstGeom>
        </p:spPr>
        <p:txBody>
          <a:bodyPr lIns="91433" tIns="45717" rIns="91433" bIns="45717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1402823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9516296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36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66" indent="0" algn="ctr">
              <a:buNone/>
              <a:defRPr/>
            </a:lvl2pPr>
            <a:lvl3pPr marL="914333" indent="0" algn="ctr">
              <a:buNone/>
              <a:defRPr/>
            </a:lvl3pPr>
            <a:lvl4pPr marL="1371499" indent="0" algn="ctr">
              <a:buNone/>
              <a:defRPr/>
            </a:lvl4pPr>
            <a:lvl5pPr marL="1828666" indent="0" algn="ctr">
              <a:buNone/>
              <a:defRPr/>
            </a:lvl5pPr>
            <a:lvl6pPr marL="2285832" indent="0" algn="ctr">
              <a:buNone/>
              <a:defRPr/>
            </a:lvl6pPr>
            <a:lvl7pPr marL="2742998" indent="0" algn="ctr">
              <a:buNone/>
              <a:defRPr/>
            </a:lvl7pPr>
            <a:lvl8pPr marL="3200164" indent="0" algn="ctr">
              <a:buNone/>
              <a:defRPr/>
            </a:lvl8pPr>
            <a:lvl9pPr marL="3657331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6849888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  <a:prstGeom prst="rect">
            <a:avLst/>
          </a:prstGeom>
        </p:spPr>
        <p:txBody>
          <a:bodyPr lIns="38405" tIns="19202" rIns="38405" bIns="19202"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202113" y="6438902"/>
            <a:ext cx="400050" cy="1841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B00883-67A7-47D2-B040-0550DD45B00B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40850475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423833793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5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8"/>
            <a:ext cx="7772400" cy="150018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66" indent="0">
              <a:buNone/>
              <a:defRPr sz="1800"/>
            </a:lvl2pPr>
            <a:lvl3pPr marL="914333" indent="0">
              <a:buNone/>
              <a:defRPr sz="1600"/>
            </a:lvl3pPr>
            <a:lvl4pPr marL="1371499" indent="0">
              <a:buNone/>
              <a:defRPr sz="1400"/>
            </a:lvl4pPr>
            <a:lvl5pPr marL="1828666" indent="0">
              <a:buNone/>
              <a:defRPr sz="1400"/>
            </a:lvl5pPr>
            <a:lvl6pPr marL="2285832" indent="0">
              <a:buNone/>
              <a:defRPr sz="1400"/>
            </a:lvl6pPr>
            <a:lvl7pPr marL="2742998" indent="0">
              <a:buNone/>
              <a:defRPr sz="1400"/>
            </a:lvl7pPr>
            <a:lvl8pPr marL="3200164" indent="0">
              <a:buNone/>
              <a:defRPr sz="1400"/>
            </a:lvl8pPr>
            <a:lvl9pPr marL="3657331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14295265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532199565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6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9" indent="0">
              <a:buNone/>
              <a:defRPr sz="1600" b="1"/>
            </a:lvl4pPr>
            <a:lvl5pPr marL="1828666" indent="0">
              <a:buNone/>
              <a:defRPr sz="1600" b="1"/>
            </a:lvl5pPr>
            <a:lvl6pPr marL="2285832" indent="0">
              <a:buNone/>
              <a:defRPr sz="1600" b="1"/>
            </a:lvl6pPr>
            <a:lvl7pPr marL="2742998" indent="0">
              <a:buNone/>
              <a:defRPr sz="1600" b="1"/>
            </a:lvl7pPr>
            <a:lvl8pPr marL="3200164" indent="0">
              <a:buNone/>
              <a:defRPr sz="1600" b="1"/>
            </a:lvl8pPr>
            <a:lvl9pPr marL="3657331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33" y="1535116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9" indent="0">
              <a:buNone/>
              <a:defRPr sz="1600" b="1"/>
            </a:lvl4pPr>
            <a:lvl5pPr marL="1828666" indent="0">
              <a:buNone/>
              <a:defRPr sz="1600" b="1"/>
            </a:lvl5pPr>
            <a:lvl6pPr marL="2285832" indent="0">
              <a:buNone/>
              <a:defRPr sz="1600" b="1"/>
            </a:lvl6pPr>
            <a:lvl7pPr marL="2742998" indent="0">
              <a:buNone/>
              <a:defRPr sz="1600" b="1"/>
            </a:lvl7pPr>
            <a:lvl8pPr marL="3200164" indent="0">
              <a:buNone/>
              <a:defRPr sz="1600" b="1"/>
            </a:lvl8pPr>
            <a:lvl9pPr marL="3657331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33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578524861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2096796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467328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2" y="273052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2" y="1435107"/>
            <a:ext cx="3008313" cy="4691062"/>
          </a:xfrm>
        </p:spPr>
        <p:txBody>
          <a:bodyPr/>
          <a:lstStyle>
            <a:lvl1pPr marL="0" indent="0">
              <a:buNone/>
              <a:defRPr sz="1400"/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9" indent="0">
              <a:buNone/>
              <a:defRPr sz="900"/>
            </a:lvl4pPr>
            <a:lvl5pPr marL="1828666" indent="0">
              <a:buNone/>
              <a:defRPr sz="900"/>
            </a:lvl5pPr>
            <a:lvl6pPr marL="2285832" indent="0">
              <a:buNone/>
              <a:defRPr sz="900"/>
            </a:lvl6pPr>
            <a:lvl7pPr marL="2742998" indent="0">
              <a:buNone/>
              <a:defRPr sz="900"/>
            </a:lvl7pPr>
            <a:lvl8pPr marL="3200164" indent="0">
              <a:buNone/>
              <a:defRPr sz="900"/>
            </a:lvl8pPr>
            <a:lvl9pPr marL="3657331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08201148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7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66" indent="0">
              <a:buNone/>
              <a:defRPr sz="2800"/>
            </a:lvl2pPr>
            <a:lvl3pPr marL="914333" indent="0">
              <a:buNone/>
              <a:defRPr sz="2400"/>
            </a:lvl3pPr>
            <a:lvl4pPr marL="1371499" indent="0">
              <a:buNone/>
              <a:defRPr sz="2000"/>
            </a:lvl4pPr>
            <a:lvl5pPr marL="1828666" indent="0">
              <a:buNone/>
              <a:defRPr sz="2000"/>
            </a:lvl5pPr>
            <a:lvl6pPr marL="2285832" indent="0">
              <a:buNone/>
              <a:defRPr sz="2000"/>
            </a:lvl6pPr>
            <a:lvl7pPr marL="2742998" indent="0">
              <a:buNone/>
              <a:defRPr sz="2000"/>
            </a:lvl7pPr>
            <a:lvl8pPr marL="3200164" indent="0">
              <a:buNone/>
              <a:defRPr sz="2000"/>
            </a:lvl8pPr>
            <a:lvl9pPr marL="3657331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9" indent="0">
              <a:buNone/>
              <a:defRPr sz="900"/>
            </a:lvl4pPr>
            <a:lvl5pPr marL="1828666" indent="0">
              <a:buNone/>
              <a:defRPr sz="900"/>
            </a:lvl5pPr>
            <a:lvl6pPr marL="2285832" indent="0">
              <a:buNone/>
              <a:defRPr sz="900"/>
            </a:lvl6pPr>
            <a:lvl7pPr marL="2742998" indent="0">
              <a:buNone/>
              <a:defRPr sz="900"/>
            </a:lvl7pPr>
            <a:lvl8pPr marL="3200164" indent="0">
              <a:buNone/>
              <a:defRPr sz="900"/>
            </a:lvl8pPr>
            <a:lvl9pPr marL="3657331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44271985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594774581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15128" y="115889"/>
            <a:ext cx="2071687" cy="6010276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95288" y="115889"/>
            <a:ext cx="6067425" cy="6010276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452745778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0762359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194255"/>
            <a:ext cx="8229600" cy="408650"/>
          </a:xfrm>
          <a:prstGeom prst="rect">
            <a:avLst/>
          </a:prstGeom>
        </p:spPr>
        <p:txBody>
          <a:bodyPr lIns="91433" tIns="45717" rIns="91433" bIns="45717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0688890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8949157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Títul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5320351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MG_LOGO_2"/>
          <p:cNvSpPr>
            <a:spLocks noChangeAspect="1"/>
          </p:cNvSpPr>
          <p:nvPr userDrawn="1"/>
        </p:nvSpPr>
        <p:spPr bwMode="auto">
          <a:xfrm>
            <a:off x="2657475" y="2901951"/>
            <a:ext cx="3836988" cy="1054100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2147483647 w 21600"/>
              <a:gd name="T17" fmla="*/ 2147483647 h 21600"/>
              <a:gd name="T18" fmla="*/ 2147483647 w 21600"/>
              <a:gd name="T19" fmla="*/ 2147483647 h 21600"/>
              <a:gd name="T20" fmla="*/ 2147483647 w 21600"/>
              <a:gd name="T21" fmla="*/ 2147483647 h 21600"/>
              <a:gd name="T22" fmla="*/ 2147483647 w 21600"/>
              <a:gd name="T23" fmla="*/ 2147483647 h 21600"/>
              <a:gd name="T24" fmla="*/ 2147483647 w 21600"/>
              <a:gd name="T25" fmla="*/ 2147483647 h 21600"/>
              <a:gd name="T26" fmla="*/ 2147483647 w 21600"/>
              <a:gd name="T27" fmla="*/ 2147483647 h 21600"/>
              <a:gd name="T28" fmla="*/ 2147483647 w 21600"/>
              <a:gd name="T29" fmla="*/ 2147483647 h 21600"/>
              <a:gd name="T30" fmla="*/ 2147483647 w 21600"/>
              <a:gd name="T31" fmla="*/ 2147483647 h 21600"/>
              <a:gd name="T32" fmla="*/ 2147483647 w 21600"/>
              <a:gd name="T33" fmla="*/ 2147483647 h 21600"/>
              <a:gd name="T34" fmla="*/ 2147483647 w 21600"/>
              <a:gd name="T35" fmla="*/ 2147483647 h 21600"/>
              <a:gd name="T36" fmla="*/ 2147483647 w 21600"/>
              <a:gd name="T37" fmla="*/ 2147483647 h 21600"/>
              <a:gd name="T38" fmla="*/ 2147483647 w 21600"/>
              <a:gd name="T39" fmla="*/ 2147483647 h 21600"/>
              <a:gd name="T40" fmla="*/ 2147483647 w 21600"/>
              <a:gd name="T41" fmla="*/ 2147483647 h 21600"/>
              <a:gd name="T42" fmla="*/ 2147483647 w 21600"/>
              <a:gd name="T43" fmla="*/ 2147483647 h 21600"/>
              <a:gd name="T44" fmla="*/ 2147483647 w 21600"/>
              <a:gd name="T45" fmla="*/ 2147483647 h 21600"/>
              <a:gd name="T46" fmla="*/ 2147483647 w 21600"/>
              <a:gd name="T47" fmla="*/ 2147483647 h 21600"/>
              <a:gd name="T48" fmla="*/ 2147483647 w 21600"/>
              <a:gd name="T49" fmla="*/ 2147483647 h 21600"/>
              <a:gd name="T50" fmla="*/ 2147483647 w 21600"/>
              <a:gd name="T51" fmla="*/ 2147483647 h 21600"/>
              <a:gd name="T52" fmla="*/ 2147483647 w 21600"/>
              <a:gd name="T53" fmla="*/ 2147483647 h 21600"/>
              <a:gd name="T54" fmla="*/ 2147483647 w 21600"/>
              <a:gd name="T55" fmla="*/ 2147483647 h 21600"/>
              <a:gd name="T56" fmla="*/ 2147483647 w 21600"/>
              <a:gd name="T57" fmla="*/ 2147483647 h 21600"/>
              <a:gd name="T58" fmla="*/ 2147483647 w 21600"/>
              <a:gd name="T59" fmla="*/ 2147483647 h 21600"/>
              <a:gd name="T60" fmla="*/ 2147483647 w 21600"/>
              <a:gd name="T61" fmla="*/ 2147483647 h 21600"/>
              <a:gd name="T62" fmla="*/ 2147483647 w 21600"/>
              <a:gd name="T63" fmla="*/ 2147483647 h 21600"/>
              <a:gd name="T64" fmla="*/ 2147483647 w 21600"/>
              <a:gd name="T65" fmla="*/ 2147483647 h 21600"/>
              <a:gd name="T66" fmla="*/ 2147483647 w 21600"/>
              <a:gd name="T67" fmla="*/ 2147483647 h 21600"/>
              <a:gd name="T68" fmla="*/ 2147483647 w 21600"/>
              <a:gd name="T69" fmla="*/ 2147483647 h 21600"/>
              <a:gd name="T70" fmla="*/ 2147483647 w 21600"/>
              <a:gd name="T71" fmla="*/ 2147483647 h 21600"/>
              <a:gd name="T72" fmla="*/ 2147483647 w 21600"/>
              <a:gd name="T73" fmla="*/ 2147483647 h 21600"/>
              <a:gd name="T74" fmla="*/ 2147483647 w 21600"/>
              <a:gd name="T75" fmla="*/ 2147483647 h 21600"/>
              <a:gd name="T76" fmla="*/ 2147483647 w 21600"/>
              <a:gd name="T77" fmla="*/ 2147483647 h 21600"/>
              <a:gd name="T78" fmla="*/ 2147483647 w 21600"/>
              <a:gd name="T79" fmla="*/ 2147483647 h 21600"/>
              <a:gd name="T80" fmla="*/ 2147483647 w 21600"/>
              <a:gd name="T81" fmla="*/ 2147483647 h 21600"/>
              <a:gd name="T82" fmla="*/ 2147483647 w 21600"/>
              <a:gd name="T83" fmla="*/ 2147483647 h 21600"/>
              <a:gd name="T84" fmla="*/ 2147483647 w 21600"/>
              <a:gd name="T85" fmla="*/ 2147483647 h 21600"/>
              <a:gd name="T86" fmla="*/ 2147483647 w 21600"/>
              <a:gd name="T87" fmla="*/ 2147483647 h 21600"/>
              <a:gd name="T88" fmla="*/ 2147483647 w 21600"/>
              <a:gd name="T89" fmla="*/ 2147483647 h 21600"/>
              <a:gd name="T90" fmla="*/ 2147483647 w 21600"/>
              <a:gd name="T91" fmla="*/ 2147483647 h 21600"/>
              <a:gd name="T92" fmla="*/ 2147483647 w 21600"/>
              <a:gd name="T93" fmla="*/ 2147483647 h 21600"/>
              <a:gd name="T94" fmla="*/ 2147483647 w 21600"/>
              <a:gd name="T95" fmla="*/ 2147483647 h 21600"/>
              <a:gd name="T96" fmla="*/ 2147483647 w 21600"/>
              <a:gd name="T97" fmla="*/ 2147483647 h 21600"/>
              <a:gd name="T98" fmla="*/ 2147483647 w 21600"/>
              <a:gd name="T99" fmla="*/ 2147483647 h 21600"/>
              <a:gd name="T100" fmla="*/ 2147483647 w 21600"/>
              <a:gd name="T101" fmla="*/ 2147483647 h 21600"/>
              <a:gd name="T102" fmla="*/ 2147483647 w 21600"/>
              <a:gd name="T103" fmla="*/ 2147483647 h 21600"/>
              <a:gd name="T104" fmla="*/ 2147483647 w 21600"/>
              <a:gd name="T105" fmla="*/ 2147483647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1600"/>
              <a:gd name="T160" fmla="*/ 0 h 21600"/>
              <a:gd name="T161" fmla="*/ 21600 w 21600"/>
              <a:gd name="T162" fmla="*/ 21600 h 2160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245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/>
            <a:endParaRPr lang="en-US" sz="1662">
              <a:solidFill>
                <a:prstClr val="black"/>
              </a:solidFill>
              <a:latin typeface="Trebuchet MS"/>
              <a:cs typeface="Arial" panose="020B0604020202020204" pitchFamily="34" charset="0"/>
            </a:endParaRPr>
          </a:p>
        </p:txBody>
      </p:sp>
      <p:grpSp>
        <p:nvGrpSpPr>
          <p:cNvPr id="3" name="Text_BeMore"/>
          <p:cNvGrpSpPr>
            <a:grpSpLocks noChangeAspect="1"/>
          </p:cNvGrpSpPr>
          <p:nvPr userDrawn="1"/>
        </p:nvGrpSpPr>
        <p:grpSpPr bwMode="auto">
          <a:xfrm>
            <a:off x="7632702" y="6437332"/>
            <a:ext cx="1136650" cy="230188"/>
            <a:chOff x="0" y="0"/>
            <a:chExt cx="591" cy="111"/>
          </a:xfrm>
        </p:grpSpPr>
        <p:sp>
          <p:nvSpPr>
            <p:cNvPr id="4" name="AutoShape 2"/>
            <p:cNvSpPr>
              <a:spLocks/>
            </p:cNvSpPr>
            <p:nvPr userDrawn="1"/>
          </p:nvSpPr>
          <p:spPr bwMode="auto">
            <a:xfrm>
              <a:off x="0" y="0"/>
              <a:ext cx="546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w 21600"/>
                <a:gd name="T17" fmla="*/ 0 h 21600"/>
                <a:gd name="T18" fmla="*/ 0 w 21600"/>
                <a:gd name="T19" fmla="*/ 0 h 21600"/>
                <a:gd name="T20" fmla="*/ 0 w 21600"/>
                <a:gd name="T21" fmla="*/ 0 h 21600"/>
                <a:gd name="T22" fmla="*/ 0 w 21600"/>
                <a:gd name="T23" fmla="*/ 0 h 21600"/>
                <a:gd name="T24" fmla="*/ 0 w 21600"/>
                <a:gd name="T25" fmla="*/ 0 h 21600"/>
                <a:gd name="T26" fmla="*/ 0 w 21600"/>
                <a:gd name="T27" fmla="*/ 0 h 21600"/>
                <a:gd name="T28" fmla="*/ 0 w 21600"/>
                <a:gd name="T29" fmla="*/ 0 h 21600"/>
                <a:gd name="T30" fmla="*/ 0 w 21600"/>
                <a:gd name="T31" fmla="*/ 0 h 21600"/>
                <a:gd name="T32" fmla="*/ 0 w 21600"/>
                <a:gd name="T33" fmla="*/ 0 h 21600"/>
                <a:gd name="T34" fmla="*/ 0 w 21600"/>
                <a:gd name="T35" fmla="*/ 0 h 21600"/>
                <a:gd name="T36" fmla="*/ 0 w 21600"/>
                <a:gd name="T37" fmla="*/ 0 h 21600"/>
                <a:gd name="T38" fmla="*/ 0 w 21600"/>
                <a:gd name="T39" fmla="*/ 0 h 21600"/>
                <a:gd name="T40" fmla="*/ 0 w 21600"/>
                <a:gd name="T41" fmla="*/ 0 h 21600"/>
                <a:gd name="T42" fmla="*/ 0 w 21600"/>
                <a:gd name="T43" fmla="*/ 0 h 21600"/>
                <a:gd name="T44" fmla="*/ 0 w 21600"/>
                <a:gd name="T45" fmla="*/ 0 h 21600"/>
                <a:gd name="T46" fmla="*/ 0 w 21600"/>
                <a:gd name="T47" fmla="*/ 0 h 21600"/>
                <a:gd name="T48" fmla="*/ 0 w 21600"/>
                <a:gd name="T49" fmla="*/ 0 h 21600"/>
                <a:gd name="T50" fmla="*/ 0 w 21600"/>
                <a:gd name="T51" fmla="*/ 0 h 21600"/>
                <a:gd name="T52" fmla="*/ 0 w 21600"/>
                <a:gd name="T53" fmla="*/ 0 h 21600"/>
                <a:gd name="T54" fmla="*/ 0 w 21600"/>
                <a:gd name="T55" fmla="*/ 0 h 21600"/>
                <a:gd name="T56" fmla="*/ 0 w 21600"/>
                <a:gd name="T57" fmla="*/ 0 h 21600"/>
                <a:gd name="T58" fmla="*/ 0 w 21600"/>
                <a:gd name="T59" fmla="*/ 0 h 21600"/>
                <a:gd name="T60" fmla="*/ 0 w 21600"/>
                <a:gd name="T61" fmla="*/ 0 h 21600"/>
                <a:gd name="T62" fmla="*/ 0 w 21600"/>
                <a:gd name="T63" fmla="*/ 0 h 21600"/>
                <a:gd name="T64" fmla="*/ 0 w 21600"/>
                <a:gd name="T65" fmla="*/ 0 h 21600"/>
                <a:gd name="T66" fmla="*/ 0 w 21600"/>
                <a:gd name="T67" fmla="*/ 0 h 21600"/>
                <a:gd name="T68" fmla="*/ 0 w 21600"/>
                <a:gd name="T69" fmla="*/ 0 h 21600"/>
                <a:gd name="T70" fmla="*/ 0 w 21600"/>
                <a:gd name="T71" fmla="*/ 0 h 21600"/>
                <a:gd name="T72" fmla="*/ 0 w 21600"/>
                <a:gd name="T73" fmla="*/ 0 h 21600"/>
                <a:gd name="T74" fmla="*/ 0 w 21600"/>
                <a:gd name="T75" fmla="*/ 0 h 21600"/>
                <a:gd name="T76" fmla="*/ 0 w 21600"/>
                <a:gd name="T77" fmla="*/ 0 h 21600"/>
                <a:gd name="T78" fmla="*/ 0 w 21600"/>
                <a:gd name="T79" fmla="*/ 0 h 21600"/>
                <a:gd name="T80" fmla="*/ 0 w 21600"/>
                <a:gd name="T81" fmla="*/ 0 h 21600"/>
                <a:gd name="T82" fmla="*/ 0 w 21600"/>
                <a:gd name="T83" fmla="*/ 0 h 21600"/>
                <a:gd name="T84" fmla="*/ 0 w 21600"/>
                <a:gd name="T85" fmla="*/ 0 h 21600"/>
                <a:gd name="T86" fmla="*/ 0 w 21600"/>
                <a:gd name="T87" fmla="*/ 0 h 21600"/>
                <a:gd name="T88" fmla="*/ 0 w 21600"/>
                <a:gd name="T89" fmla="*/ 0 h 21600"/>
                <a:gd name="T90" fmla="*/ 0 w 21600"/>
                <a:gd name="T91" fmla="*/ 0 h 21600"/>
                <a:gd name="T92" fmla="*/ 0 w 21600"/>
                <a:gd name="T93" fmla="*/ 0 h 21600"/>
                <a:gd name="T94" fmla="*/ 0 w 21600"/>
                <a:gd name="T95" fmla="*/ 0 h 21600"/>
                <a:gd name="T96" fmla="*/ 0 w 21600"/>
                <a:gd name="T97" fmla="*/ 0 h 21600"/>
                <a:gd name="T98" fmla="*/ 0 w 21600"/>
                <a:gd name="T99" fmla="*/ 0 h 21600"/>
                <a:gd name="T100" fmla="*/ 0 w 21600"/>
                <a:gd name="T101" fmla="*/ 0 h 216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600"/>
                <a:gd name="T154" fmla="*/ 0 h 21600"/>
                <a:gd name="T155" fmla="*/ 21600 w 21600"/>
                <a:gd name="T156" fmla="*/ 21600 h 216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600" h="21600">
                  <a:moveTo>
                    <a:pt x="2236" y="9904"/>
                  </a:moveTo>
                  <a:cubicBezTo>
                    <a:pt x="2490" y="10359"/>
                    <a:pt x="2636" y="10997"/>
                    <a:pt x="2734" y="11787"/>
                  </a:cubicBezTo>
                  <a:cubicBezTo>
                    <a:pt x="2833" y="12577"/>
                    <a:pt x="2864" y="13428"/>
                    <a:pt x="2864" y="14460"/>
                  </a:cubicBezTo>
                  <a:cubicBezTo>
                    <a:pt x="2864" y="16952"/>
                    <a:pt x="2688" y="18501"/>
                    <a:pt x="2444" y="19473"/>
                  </a:cubicBezTo>
                  <a:cubicBezTo>
                    <a:pt x="2174" y="20567"/>
                    <a:pt x="1764" y="21175"/>
                    <a:pt x="1105" y="21175"/>
                  </a:cubicBezTo>
                  <a:lnTo>
                    <a:pt x="0" y="21175"/>
                  </a:lnTo>
                  <a:lnTo>
                    <a:pt x="623" y="395"/>
                  </a:lnTo>
                  <a:lnTo>
                    <a:pt x="1717" y="395"/>
                  </a:lnTo>
                  <a:cubicBezTo>
                    <a:pt x="2226" y="395"/>
                    <a:pt x="2480" y="942"/>
                    <a:pt x="2636" y="1671"/>
                  </a:cubicBezTo>
                  <a:cubicBezTo>
                    <a:pt x="2823" y="2552"/>
                    <a:pt x="2885" y="3797"/>
                    <a:pt x="2885" y="4982"/>
                  </a:cubicBezTo>
                  <a:cubicBezTo>
                    <a:pt x="2885" y="7017"/>
                    <a:pt x="2703" y="8871"/>
                    <a:pt x="2236" y="9904"/>
                  </a:cubicBezTo>
                  <a:close/>
                  <a:moveTo>
                    <a:pt x="908" y="17742"/>
                  </a:moveTo>
                  <a:lnTo>
                    <a:pt x="1188" y="17742"/>
                  </a:lnTo>
                  <a:cubicBezTo>
                    <a:pt x="1484" y="17742"/>
                    <a:pt x="1645" y="17529"/>
                    <a:pt x="1775" y="17134"/>
                  </a:cubicBezTo>
                  <a:cubicBezTo>
                    <a:pt x="1920" y="16679"/>
                    <a:pt x="2039" y="15919"/>
                    <a:pt x="2039" y="14643"/>
                  </a:cubicBezTo>
                  <a:cubicBezTo>
                    <a:pt x="2039" y="13792"/>
                    <a:pt x="1987" y="13155"/>
                    <a:pt x="1899" y="12760"/>
                  </a:cubicBezTo>
                  <a:cubicBezTo>
                    <a:pt x="1800" y="12304"/>
                    <a:pt x="1650" y="12091"/>
                    <a:pt x="1437" y="12091"/>
                  </a:cubicBezTo>
                  <a:lnTo>
                    <a:pt x="1079" y="12091"/>
                  </a:lnTo>
                  <a:lnTo>
                    <a:pt x="908" y="17742"/>
                  </a:lnTo>
                  <a:close/>
                  <a:moveTo>
                    <a:pt x="1183" y="8658"/>
                  </a:moveTo>
                  <a:lnTo>
                    <a:pt x="1365" y="8658"/>
                  </a:lnTo>
                  <a:cubicBezTo>
                    <a:pt x="1645" y="8658"/>
                    <a:pt x="1800" y="8324"/>
                    <a:pt x="1909" y="7838"/>
                  </a:cubicBezTo>
                  <a:cubicBezTo>
                    <a:pt x="2018" y="7352"/>
                    <a:pt x="2081" y="6623"/>
                    <a:pt x="2081" y="5742"/>
                  </a:cubicBezTo>
                  <a:cubicBezTo>
                    <a:pt x="2081" y="5134"/>
                    <a:pt x="2055" y="4739"/>
                    <a:pt x="1998" y="4405"/>
                  </a:cubicBezTo>
                  <a:cubicBezTo>
                    <a:pt x="1935" y="4071"/>
                    <a:pt x="1831" y="3828"/>
                    <a:pt x="1603" y="3828"/>
                  </a:cubicBezTo>
                  <a:lnTo>
                    <a:pt x="1328" y="3828"/>
                  </a:lnTo>
                  <a:lnTo>
                    <a:pt x="1183" y="8658"/>
                  </a:lnTo>
                  <a:close/>
                  <a:moveTo>
                    <a:pt x="4140" y="17742"/>
                  </a:moveTo>
                  <a:lnTo>
                    <a:pt x="5749" y="17742"/>
                  </a:lnTo>
                  <a:lnTo>
                    <a:pt x="5650" y="21175"/>
                  </a:lnTo>
                  <a:lnTo>
                    <a:pt x="3227" y="21175"/>
                  </a:lnTo>
                  <a:lnTo>
                    <a:pt x="3850" y="395"/>
                  </a:lnTo>
                  <a:lnTo>
                    <a:pt x="6247" y="395"/>
                  </a:lnTo>
                  <a:lnTo>
                    <a:pt x="6081" y="3828"/>
                  </a:lnTo>
                  <a:lnTo>
                    <a:pt x="4556" y="3828"/>
                  </a:lnTo>
                  <a:lnTo>
                    <a:pt x="4405" y="8871"/>
                  </a:lnTo>
                  <a:lnTo>
                    <a:pt x="5624" y="8871"/>
                  </a:lnTo>
                  <a:lnTo>
                    <a:pt x="5515" y="12425"/>
                  </a:lnTo>
                  <a:lnTo>
                    <a:pt x="4296" y="12425"/>
                  </a:lnTo>
                  <a:lnTo>
                    <a:pt x="4140" y="17742"/>
                  </a:lnTo>
                  <a:close/>
                  <a:moveTo>
                    <a:pt x="8540" y="395"/>
                  </a:moveTo>
                  <a:lnTo>
                    <a:pt x="9298" y="11878"/>
                  </a:lnTo>
                  <a:lnTo>
                    <a:pt x="10792" y="395"/>
                  </a:lnTo>
                  <a:lnTo>
                    <a:pt x="11456" y="395"/>
                  </a:lnTo>
                  <a:lnTo>
                    <a:pt x="10834" y="21175"/>
                  </a:lnTo>
                  <a:lnTo>
                    <a:pt x="10092" y="21175"/>
                  </a:lnTo>
                  <a:lnTo>
                    <a:pt x="10450" y="9053"/>
                  </a:lnTo>
                  <a:lnTo>
                    <a:pt x="9495" y="16436"/>
                  </a:lnTo>
                  <a:lnTo>
                    <a:pt x="8872" y="16436"/>
                  </a:lnTo>
                  <a:lnTo>
                    <a:pt x="8354" y="8658"/>
                  </a:lnTo>
                  <a:lnTo>
                    <a:pt x="7975" y="21175"/>
                  </a:lnTo>
                  <a:lnTo>
                    <a:pt x="7295" y="21175"/>
                  </a:lnTo>
                  <a:lnTo>
                    <a:pt x="7918" y="395"/>
                  </a:lnTo>
                  <a:lnTo>
                    <a:pt x="8540" y="395"/>
                  </a:lnTo>
                  <a:close/>
                  <a:moveTo>
                    <a:pt x="11685" y="13640"/>
                  </a:moveTo>
                  <a:cubicBezTo>
                    <a:pt x="11685" y="10451"/>
                    <a:pt x="11820" y="7321"/>
                    <a:pt x="12058" y="4921"/>
                  </a:cubicBezTo>
                  <a:cubicBezTo>
                    <a:pt x="12380" y="1701"/>
                    <a:pt x="12893" y="0"/>
                    <a:pt x="13610" y="0"/>
                  </a:cubicBezTo>
                  <a:cubicBezTo>
                    <a:pt x="14429" y="0"/>
                    <a:pt x="14990" y="2521"/>
                    <a:pt x="14990" y="7959"/>
                  </a:cubicBezTo>
                  <a:cubicBezTo>
                    <a:pt x="14990" y="11149"/>
                    <a:pt x="14855" y="14278"/>
                    <a:pt x="14616" y="16678"/>
                  </a:cubicBezTo>
                  <a:cubicBezTo>
                    <a:pt x="14295" y="19899"/>
                    <a:pt x="13781" y="21600"/>
                    <a:pt x="13065" y="21600"/>
                  </a:cubicBezTo>
                  <a:cubicBezTo>
                    <a:pt x="12245" y="21600"/>
                    <a:pt x="11685" y="19078"/>
                    <a:pt x="11685" y="13640"/>
                  </a:cubicBezTo>
                  <a:close/>
                  <a:moveTo>
                    <a:pt x="12790" y="6775"/>
                  </a:moveTo>
                  <a:cubicBezTo>
                    <a:pt x="12619" y="8688"/>
                    <a:pt x="12520" y="11180"/>
                    <a:pt x="12520" y="13640"/>
                  </a:cubicBezTo>
                  <a:cubicBezTo>
                    <a:pt x="12520" y="16770"/>
                    <a:pt x="12764" y="17894"/>
                    <a:pt x="13127" y="17894"/>
                  </a:cubicBezTo>
                  <a:cubicBezTo>
                    <a:pt x="13469" y="17894"/>
                    <a:pt x="13713" y="16709"/>
                    <a:pt x="13885" y="14825"/>
                  </a:cubicBezTo>
                  <a:cubicBezTo>
                    <a:pt x="14056" y="12912"/>
                    <a:pt x="14154" y="10420"/>
                    <a:pt x="14154" y="7960"/>
                  </a:cubicBezTo>
                  <a:cubicBezTo>
                    <a:pt x="14154" y="4830"/>
                    <a:pt x="13911" y="3706"/>
                    <a:pt x="13547" y="3706"/>
                  </a:cubicBezTo>
                  <a:cubicBezTo>
                    <a:pt x="13205" y="3706"/>
                    <a:pt x="12961" y="4891"/>
                    <a:pt x="12790" y="6775"/>
                  </a:cubicBezTo>
                  <a:close/>
                  <a:moveTo>
                    <a:pt x="18098" y="10177"/>
                  </a:moveTo>
                  <a:cubicBezTo>
                    <a:pt x="17963" y="11271"/>
                    <a:pt x="17745" y="12182"/>
                    <a:pt x="17459" y="12851"/>
                  </a:cubicBezTo>
                  <a:lnTo>
                    <a:pt x="18009" y="21175"/>
                  </a:lnTo>
                  <a:lnTo>
                    <a:pt x="17143" y="21175"/>
                  </a:lnTo>
                  <a:lnTo>
                    <a:pt x="16728" y="13641"/>
                  </a:lnTo>
                  <a:lnTo>
                    <a:pt x="16251" y="13641"/>
                  </a:lnTo>
                  <a:lnTo>
                    <a:pt x="16027" y="21175"/>
                  </a:lnTo>
                  <a:lnTo>
                    <a:pt x="15218" y="21175"/>
                  </a:lnTo>
                  <a:lnTo>
                    <a:pt x="15841" y="395"/>
                  </a:lnTo>
                  <a:lnTo>
                    <a:pt x="17050" y="395"/>
                  </a:lnTo>
                  <a:cubicBezTo>
                    <a:pt x="17491" y="395"/>
                    <a:pt x="17797" y="942"/>
                    <a:pt x="17989" y="1914"/>
                  </a:cubicBezTo>
                  <a:cubicBezTo>
                    <a:pt x="18202" y="2977"/>
                    <a:pt x="18290" y="4526"/>
                    <a:pt x="18290" y="6319"/>
                  </a:cubicBezTo>
                  <a:cubicBezTo>
                    <a:pt x="18290" y="7807"/>
                    <a:pt x="18227" y="9114"/>
                    <a:pt x="18098" y="10177"/>
                  </a:cubicBezTo>
                  <a:close/>
                  <a:moveTo>
                    <a:pt x="16354" y="10208"/>
                  </a:moveTo>
                  <a:lnTo>
                    <a:pt x="16666" y="10208"/>
                  </a:lnTo>
                  <a:cubicBezTo>
                    <a:pt x="16915" y="10208"/>
                    <a:pt x="17138" y="9934"/>
                    <a:pt x="17288" y="9114"/>
                  </a:cubicBezTo>
                  <a:cubicBezTo>
                    <a:pt x="17408" y="8476"/>
                    <a:pt x="17486" y="7443"/>
                    <a:pt x="17486" y="6349"/>
                  </a:cubicBezTo>
                  <a:cubicBezTo>
                    <a:pt x="17486" y="5651"/>
                    <a:pt x="17454" y="5012"/>
                    <a:pt x="17382" y="4587"/>
                  </a:cubicBezTo>
                  <a:cubicBezTo>
                    <a:pt x="17299" y="4101"/>
                    <a:pt x="17169" y="3828"/>
                    <a:pt x="16951" y="3828"/>
                  </a:cubicBezTo>
                  <a:lnTo>
                    <a:pt x="16546" y="3828"/>
                  </a:lnTo>
                  <a:lnTo>
                    <a:pt x="16354" y="10208"/>
                  </a:lnTo>
                  <a:close/>
                  <a:moveTo>
                    <a:pt x="19493" y="17742"/>
                  </a:moveTo>
                  <a:lnTo>
                    <a:pt x="21102" y="17742"/>
                  </a:lnTo>
                  <a:lnTo>
                    <a:pt x="21003" y="21175"/>
                  </a:lnTo>
                  <a:lnTo>
                    <a:pt x="18580" y="21175"/>
                  </a:lnTo>
                  <a:lnTo>
                    <a:pt x="19203" y="395"/>
                  </a:lnTo>
                  <a:lnTo>
                    <a:pt x="21600" y="395"/>
                  </a:lnTo>
                  <a:lnTo>
                    <a:pt x="21434" y="3828"/>
                  </a:lnTo>
                  <a:lnTo>
                    <a:pt x="19909" y="3828"/>
                  </a:lnTo>
                  <a:lnTo>
                    <a:pt x="19758" y="8871"/>
                  </a:lnTo>
                  <a:lnTo>
                    <a:pt x="20977" y="8871"/>
                  </a:lnTo>
                  <a:lnTo>
                    <a:pt x="20868" y="12425"/>
                  </a:lnTo>
                  <a:lnTo>
                    <a:pt x="19649" y="12425"/>
                  </a:lnTo>
                  <a:lnTo>
                    <a:pt x="19493" y="17742"/>
                  </a:lnTo>
                  <a:close/>
                  <a:moveTo>
                    <a:pt x="19493" y="17742"/>
                  </a:moveTo>
                </a:path>
              </a:pathLst>
            </a:custGeom>
            <a:solidFill>
              <a:srgbClr val="0032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/>
              <a:endParaRPr lang="en-US" sz="1662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5" name="AutoShape 3"/>
            <p:cNvSpPr>
              <a:spLocks/>
            </p:cNvSpPr>
            <p:nvPr userDrawn="1"/>
          </p:nvSpPr>
          <p:spPr bwMode="auto">
            <a:xfrm>
              <a:off x="533" y="98"/>
              <a:ext cx="58" cy="1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600"/>
                <a:gd name="T19" fmla="*/ 0 h 21600"/>
                <a:gd name="T20" fmla="*/ 21600 w 21600"/>
                <a:gd name="T21" fmla="*/ 21600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0" y="21600"/>
                  </a:moveTo>
                  <a:lnTo>
                    <a:pt x="870" y="0"/>
                  </a:lnTo>
                  <a:lnTo>
                    <a:pt x="21600" y="0"/>
                  </a:lnTo>
                  <a:lnTo>
                    <a:pt x="20730" y="21600"/>
                  </a:lnTo>
                  <a:lnTo>
                    <a:pt x="0" y="21600"/>
                  </a:lnTo>
                  <a:close/>
                  <a:moveTo>
                    <a:pt x="0" y="21600"/>
                  </a:moveTo>
                </a:path>
              </a:pathLst>
            </a:custGeom>
            <a:solidFill>
              <a:srgbClr val="7DF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/>
              <a:endParaRPr lang="en-US" sz="1662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1390173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-23446" y="2286000"/>
            <a:ext cx="9167446" cy="2159000"/>
            <a:chOff x="-23446" y="2286000"/>
            <a:chExt cx="9167446" cy="2159000"/>
          </a:xfrm>
        </p:grpSpPr>
        <p:sp>
          <p:nvSpPr>
            <p:cNvPr id="3" name="Rectangle 1"/>
            <p:cNvSpPr>
              <a:spLocks/>
            </p:cNvSpPr>
            <p:nvPr userDrawn="1"/>
          </p:nvSpPr>
          <p:spPr bwMode="auto">
            <a:xfrm>
              <a:off x="128954" y="2286000"/>
              <a:ext cx="8663354" cy="2159000"/>
            </a:xfrm>
            <a:prstGeom prst="rect">
              <a:avLst/>
            </a:prstGeom>
            <a:solidFill>
              <a:srgbClr val="E7E7E0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ES" sz="1662">
                <a:solidFill>
                  <a:srgbClr val="003245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4" name="Rectangle 9"/>
            <p:cNvSpPr>
              <a:spLocks/>
            </p:cNvSpPr>
            <p:nvPr userDrawn="1"/>
          </p:nvSpPr>
          <p:spPr bwMode="auto">
            <a:xfrm>
              <a:off x="-23446" y="2286000"/>
              <a:ext cx="152400" cy="2159000"/>
            </a:xfrm>
            <a:prstGeom prst="rect">
              <a:avLst/>
            </a:prstGeom>
            <a:solidFill>
              <a:schemeClr val="accent5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ES" sz="1662">
                <a:solidFill>
                  <a:srgbClr val="003245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5" name="Rectangle 10"/>
            <p:cNvSpPr>
              <a:spLocks/>
            </p:cNvSpPr>
            <p:nvPr userDrawn="1"/>
          </p:nvSpPr>
          <p:spPr bwMode="auto">
            <a:xfrm>
              <a:off x="128954" y="2286000"/>
              <a:ext cx="82062" cy="2159000"/>
            </a:xfrm>
            <a:prstGeom prst="rect">
              <a:avLst/>
            </a:prstGeom>
            <a:solidFill>
              <a:schemeClr val="tx2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ES" sz="1662">
                <a:solidFill>
                  <a:srgbClr val="003245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6" name="Rectangle 11"/>
            <p:cNvSpPr>
              <a:spLocks/>
            </p:cNvSpPr>
            <p:nvPr userDrawn="1"/>
          </p:nvSpPr>
          <p:spPr bwMode="auto">
            <a:xfrm>
              <a:off x="8792308" y="2286000"/>
              <a:ext cx="351692" cy="2159000"/>
            </a:xfrm>
            <a:prstGeom prst="rect">
              <a:avLst/>
            </a:prstGeom>
            <a:solidFill>
              <a:schemeClr val="tx2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ES" sz="1662">
                <a:solidFill>
                  <a:srgbClr val="003245"/>
                </a:solidFill>
                <a:latin typeface="Trebuchet MS"/>
                <a:cs typeface="Arial" panose="020B0604020202020204" pitchFamily="34" charset="0"/>
              </a:endParaRPr>
            </a:p>
          </p:txBody>
        </p:sp>
      </p:grp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70085" y="2408239"/>
            <a:ext cx="7772400" cy="1020762"/>
          </a:xfrm>
          <a:prstGeom prst="rect">
            <a:avLst/>
          </a:prstGeom>
        </p:spPr>
        <p:txBody>
          <a:bodyPr anchor="ctr"/>
          <a:lstStyle>
            <a:lvl1pPr algn="r">
              <a:defRPr sz="2769" b="1">
                <a:solidFill>
                  <a:schemeClr val="tx2"/>
                </a:solidFill>
              </a:defRPr>
            </a:lvl1pPr>
          </a:lstStyle>
          <a:p>
            <a:r>
              <a:rPr lang="en-GB" dirty="0" err="1"/>
              <a:t>Título</a:t>
            </a:r>
            <a:r>
              <a:rPr lang="en-GB" dirty="0"/>
              <a:t> de </a:t>
            </a:r>
            <a:r>
              <a:rPr lang="en-GB" dirty="0" err="1"/>
              <a:t>portada</a:t>
            </a:r>
            <a:br>
              <a:rPr lang="en-GB" dirty="0"/>
            </a:br>
            <a:r>
              <a:rPr lang="en-GB" dirty="0"/>
              <a:t>a </a:t>
            </a:r>
            <a:r>
              <a:rPr lang="en-GB" dirty="0" err="1"/>
              <a:t>tamaño</a:t>
            </a:r>
            <a:r>
              <a:rPr lang="en-GB" dirty="0"/>
              <a:t> de 30 </a:t>
            </a:r>
            <a:r>
              <a:rPr lang="en-GB" dirty="0" err="1"/>
              <a:t>puntos</a:t>
            </a:r>
            <a:r>
              <a:rPr lang="en-GB" dirty="0"/>
              <a:t>_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41686" y="3486613"/>
            <a:ext cx="6400800" cy="8858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62">
                <a:solidFill>
                  <a:schemeClr val="tx2"/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err="1"/>
              <a:t>Subtítulo</a:t>
            </a:r>
            <a:r>
              <a:rPr lang="en-GB" dirty="0"/>
              <a:t> de </a:t>
            </a:r>
            <a:r>
              <a:rPr lang="en-GB" dirty="0" err="1"/>
              <a:t>portada</a:t>
            </a:r>
            <a:r>
              <a:rPr lang="en-GB" dirty="0"/>
              <a:t>, en </a:t>
            </a:r>
            <a:r>
              <a:rPr lang="en-GB" dirty="0" err="1"/>
              <a:t>una</a:t>
            </a:r>
            <a:r>
              <a:rPr lang="en-GB" dirty="0"/>
              <a:t> o dos </a:t>
            </a:r>
            <a:r>
              <a:rPr lang="en-GB" dirty="0" err="1"/>
              <a:t>líneas</a:t>
            </a:r>
            <a:r>
              <a:rPr lang="en-GB" dirty="0"/>
              <a:t>, </a:t>
            </a:r>
          </a:p>
          <a:p>
            <a:r>
              <a:rPr lang="en-GB" dirty="0"/>
              <a:t>a </a:t>
            </a:r>
            <a:r>
              <a:rPr lang="en-GB" dirty="0" err="1"/>
              <a:t>tamaño</a:t>
            </a:r>
            <a:r>
              <a:rPr lang="en-GB" dirty="0"/>
              <a:t> de 18 </a:t>
            </a:r>
            <a:r>
              <a:rPr lang="en-GB" dirty="0" err="1"/>
              <a:t>puntos</a:t>
            </a:r>
            <a:r>
              <a:rPr lang="en-GB" dirty="0"/>
              <a:t>.</a:t>
            </a:r>
          </a:p>
        </p:txBody>
      </p:sp>
      <p:sp>
        <p:nvSpPr>
          <p:cNvPr id="15" name="AutoShape 2"/>
          <p:cNvSpPr>
            <a:spLocks/>
          </p:cNvSpPr>
          <p:nvPr userDrawn="1"/>
        </p:nvSpPr>
        <p:spPr bwMode="auto">
          <a:xfrm>
            <a:off x="372208" y="581025"/>
            <a:ext cx="1676400" cy="501650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2147483647 w 21600"/>
              <a:gd name="T17" fmla="*/ 2147483647 h 21600"/>
              <a:gd name="T18" fmla="*/ 2147483647 w 21600"/>
              <a:gd name="T19" fmla="*/ 2147483647 h 21600"/>
              <a:gd name="T20" fmla="*/ 2147483647 w 21600"/>
              <a:gd name="T21" fmla="*/ 2147483647 h 21600"/>
              <a:gd name="T22" fmla="*/ 2147483647 w 21600"/>
              <a:gd name="T23" fmla="*/ 2147483647 h 21600"/>
              <a:gd name="T24" fmla="*/ 2147483647 w 21600"/>
              <a:gd name="T25" fmla="*/ 2147483647 h 21600"/>
              <a:gd name="T26" fmla="*/ 2147483647 w 21600"/>
              <a:gd name="T27" fmla="*/ 2147483647 h 21600"/>
              <a:gd name="T28" fmla="*/ 2147483647 w 21600"/>
              <a:gd name="T29" fmla="*/ 2147483647 h 21600"/>
              <a:gd name="T30" fmla="*/ 2147483647 w 21600"/>
              <a:gd name="T31" fmla="*/ 2147483647 h 21600"/>
              <a:gd name="T32" fmla="*/ 2147483647 w 21600"/>
              <a:gd name="T33" fmla="*/ 2147483647 h 21600"/>
              <a:gd name="T34" fmla="*/ 2147483647 w 21600"/>
              <a:gd name="T35" fmla="*/ 2147483647 h 21600"/>
              <a:gd name="T36" fmla="*/ 2147483647 w 21600"/>
              <a:gd name="T37" fmla="*/ 2147483647 h 21600"/>
              <a:gd name="T38" fmla="*/ 2147483647 w 21600"/>
              <a:gd name="T39" fmla="*/ 2147483647 h 21600"/>
              <a:gd name="T40" fmla="*/ 2147483647 w 21600"/>
              <a:gd name="T41" fmla="*/ 2147483647 h 21600"/>
              <a:gd name="T42" fmla="*/ 2147483647 w 21600"/>
              <a:gd name="T43" fmla="*/ 2147483647 h 21600"/>
              <a:gd name="T44" fmla="*/ 2147483647 w 21600"/>
              <a:gd name="T45" fmla="*/ 2147483647 h 21600"/>
              <a:gd name="T46" fmla="*/ 2147483647 w 21600"/>
              <a:gd name="T47" fmla="*/ 2147483647 h 21600"/>
              <a:gd name="T48" fmla="*/ 2147483647 w 21600"/>
              <a:gd name="T49" fmla="*/ 2147483647 h 21600"/>
              <a:gd name="T50" fmla="*/ 2147483647 w 21600"/>
              <a:gd name="T51" fmla="*/ 2147483647 h 21600"/>
              <a:gd name="T52" fmla="*/ 2147483647 w 21600"/>
              <a:gd name="T53" fmla="*/ 2147483647 h 21600"/>
              <a:gd name="T54" fmla="*/ 2147483647 w 21600"/>
              <a:gd name="T55" fmla="*/ 2147483647 h 21600"/>
              <a:gd name="T56" fmla="*/ 2147483647 w 21600"/>
              <a:gd name="T57" fmla="*/ 2147483647 h 21600"/>
              <a:gd name="T58" fmla="*/ 2147483647 w 21600"/>
              <a:gd name="T59" fmla="*/ 2147483647 h 21600"/>
              <a:gd name="T60" fmla="*/ 2147483647 w 21600"/>
              <a:gd name="T61" fmla="*/ 2147483647 h 21600"/>
              <a:gd name="T62" fmla="*/ 2147483647 w 21600"/>
              <a:gd name="T63" fmla="*/ 2147483647 h 21600"/>
              <a:gd name="T64" fmla="*/ 2147483647 w 21600"/>
              <a:gd name="T65" fmla="*/ 2147483647 h 21600"/>
              <a:gd name="T66" fmla="*/ 2147483647 w 21600"/>
              <a:gd name="T67" fmla="*/ 2147483647 h 21600"/>
              <a:gd name="T68" fmla="*/ 2147483647 w 21600"/>
              <a:gd name="T69" fmla="*/ 2147483647 h 21600"/>
              <a:gd name="T70" fmla="*/ 2147483647 w 21600"/>
              <a:gd name="T71" fmla="*/ 2147483647 h 21600"/>
              <a:gd name="T72" fmla="*/ 2147483647 w 21600"/>
              <a:gd name="T73" fmla="*/ 2147483647 h 21600"/>
              <a:gd name="T74" fmla="*/ 2147483647 w 21600"/>
              <a:gd name="T75" fmla="*/ 2147483647 h 21600"/>
              <a:gd name="T76" fmla="*/ 2147483647 w 21600"/>
              <a:gd name="T77" fmla="*/ 2147483647 h 21600"/>
              <a:gd name="T78" fmla="*/ 2147483647 w 21600"/>
              <a:gd name="T79" fmla="*/ 2147483647 h 21600"/>
              <a:gd name="T80" fmla="*/ 2147483647 w 21600"/>
              <a:gd name="T81" fmla="*/ 2147483647 h 21600"/>
              <a:gd name="T82" fmla="*/ 2147483647 w 21600"/>
              <a:gd name="T83" fmla="*/ 2147483647 h 21600"/>
              <a:gd name="T84" fmla="*/ 2147483647 w 21600"/>
              <a:gd name="T85" fmla="*/ 2147483647 h 21600"/>
              <a:gd name="T86" fmla="*/ 2147483647 w 21600"/>
              <a:gd name="T87" fmla="*/ 2147483647 h 21600"/>
              <a:gd name="T88" fmla="*/ 2147483647 w 21600"/>
              <a:gd name="T89" fmla="*/ 2147483647 h 21600"/>
              <a:gd name="T90" fmla="*/ 2147483647 w 21600"/>
              <a:gd name="T91" fmla="*/ 2147483647 h 21600"/>
              <a:gd name="T92" fmla="*/ 2147483647 w 21600"/>
              <a:gd name="T93" fmla="*/ 2147483647 h 21600"/>
              <a:gd name="T94" fmla="*/ 2147483647 w 21600"/>
              <a:gd name="T95" fmla="*/ 2147483647 h 21600"/>
              <a:gd name="T96" fmla="*/ 2147483647 w 21600"/>
              <a:gd name="T97" fmla="*/ 2147483647 h 21600"/>
              <a:gd name="T98" fmla="*/ 2147483647 w 21600"/>
              <a:gd name="T99" fmla="*/ 2147483647 h 21600"/>
              <a:gd name="T100" fmla="*/ 2147483647 w 21600"/>
              <a:gd name="T101" fmla="*/ 2147483647 h 21600"/>
              <a:gd name="T102" fmla="*/ 2147483647 w 21600"/>
              <a:gd name="T103" fmla="*/ 2147483647 h 21600"/>
              <a:gd name="T104" fmla="*/ 2147483647 w 21600"/>
              <a:gd name="T105" fmla="*/ 2147483647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1600"/>
              <a:gd name="T160" fmla="*/ 0 h 21600"/>
              <a:gd name="T161" fmla="*/ 21600 w 21600"/>
              <a:gd name="T162" fmla="*/ 21600 h 2160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245"/>
          </a:solidFill>
          <a:ln w="254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sz="1662" kern="0">
              <a:solidFill>
                <a:sysClr val="windowText" lastClr="000000"/>
              </a:solidFill>
              <a:latin typeface="Trebuchet MS"/>
              <a:cs typeface="Arial" panose="020B0604020202020204" pitchFamily="34" charset="0"/>
            </a:endParaRPr>
          </a:p>
        </p:txBody>
      </p:sp>
      <p:grpSp>
        <p:nvGrpSpPr>
          <p:cNvPr id="16" name="Group 4"/>
          <p:cNvGrpSpPr>
            <a:grpSpLocks/>
          </p:cNvGrpSpPr>
          <p:nvPr userDrawn="1"/>
        </p:nvGrpSpPr>
        <p:grpSpPr bwMode="auto">
          <a:xfrm>
            <a:off x="7630262" y="6437336"/>
            <a:ext cx="1129811" cy="231775"/>
            <a:chOff x="0" y="0"/>
            <a:chExt cx="591" cy="111"/>
          </a:xfrm>
        </p:grpSpPr>
        <p:sp>
          <p:nvSpPr>
            <p:cNvPr id="17" name="AutoShape 2"/>
            <p:cNvSpPr>
              <a:spLocks/>
            </p:cNvSpPr>
            <p:nvPr/>
          </p:nvSpPr>
          <p:spPr bwMode="auto">
            <a:xfrm>
              <a:off x="0" y="0"/>
              <a:ext cx="546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w 21600"/>
                <a:gd name="T17" fmla="*/ 0 h 21600"/>
                <a:gd name="T18" fmla="*/ 0 w 21600"/>
                <a:gd name="T19" fmla="*/ 0 h 21600"/>
                <a:gd name="T20" fmla="*/ 0 w 21600"/>
                <a:gd name="T21" fmla="*/ 0 h 21600"/>
                <a:gd name="T22" fmla="*/ 0 w 21600"/>
                <a:gd name="T23" fmla="*/ 0 h 21600"/>
                <a:gd name="T24" fmla="*/ 0 w 21600"/>
                <a:gd name="T25" fmla="*/ 0 h 21600"/>
                <a:gd name="T26" fmla="*/ 0 w 21600"/>
                <a:gd name="T27" fmla="*/ 0 h 21600"/>
                <a:gd name="T28" fmla="*/ 0 w 21600"/>
                <a:gd name="T29" fmla="*/ 0 h 21600"/>
                <a:gd name="T30" fmla="*/ 0 w 21600"/>
                <a:gd name="T31" fmla="*/ 0 h 21600"/>
                <a:gd name="T32" fmla="*/ 0 w 21600"/>
                <a:gd name="T33" fmla="*/ 0 h 21600"/>
                <a:gd name="T34" fmla="*/ 0 w 21600"/>
                <a:gd name="T35" fmla="*/ 0 h 21600"/>
                <a:gd name="T36" fmla="*/ 0 w 21600"/>
                <a:gd name="T37" fmla="*/ 0 h 21600"/>
                <a:gd name="T38" fmla="*/ 0 w 21600"/>
                <a:gd name="T39" fmla="*/ 0 h 21600"/>
                <a:gd name="T40" fmla="*/ 0 w 21600"/>
                <a:gd name="T41" fmla="*/ 0 h 21600"/>
                <a:gd name="T42" fmla="*/ 0 w 21600"/>
                <a:gd name="T43" fmla="*/ 0 h 21600"/>
                <a:gd name="T44" fmla="*/ 0 w 21600"/>
                <a:gd name="T45" fmla="*/ 0 h 21600"/>
                <a:gd name="T46" fmla="*/ 0 w 21600"/>
                <a:gd name="T47" fmla="*/ 0 h 21600"/>
                <a:gd name="T48" fmla="*/ 0 w 21600"/>
                <a:gd name="T49" fmla="*/ 0 h 21600"/>
                <a:gd name="T50" fmla="*/ 0 w 21600"/>
                <a:gd name="T51" fmla="*/ 0 h 21600"/>
                <a:gd name="T52" fmla="*/ 0 w 21600"/>
                <a:gd name="T53" fmla="*/ 0 h 21600"/>
                <a:gd name="T54" fmla="*/ 0 w 21600"/>
                <a:gd name="T55" fmla="*/ 0 h 21600"/>
                <a:gd name="T56" fmla="*/ 0 w 21600"/>
                <a:gd name="T57" fmla="*/ 0 h 21600"/>
                <a:gd name="T58" fmla="*/ 0 w 21600"/>
                <a:gd name="T59" fmla="*/ 0 h 21600"/>
                <a:gd name="T60" fmla="*/ 0 w 21600"/>
                <a:gd name="T61" fmla="*/ 0 h 21600"/>
                <a:gd name="T62" fmla="*/ 0 w 21600"/>
                <a:gd name="T63" fmla="*/ 0 h 21600"/>
                <a:gd name="T64" fmla="*/ 0 w 21600"/>
                <a:gd name="T65" fmla="*/ 0 h 21600"/>
                <a:gd name="T66" fmla="*/ 0 w 21600"/>
                <a:gd name="T67" fmla="*/ 0 h 21600"/>
                <a:gd name="T68" fmla="*/ 0 w 21600"/>
                <a:gd name="T69" fmla="*/ 0 h 21600"/>
                <a:gd name="T70" fmla="*/ 0 w 21600"/>
                <a:gd name="T71" fmla="*/ 0 h 21600"/>
                <a:gd name="T72" fmla="*/ 0 w 21600"/>
                <a:gd name="T73" fmla="*/ 0 h 21600"/>
                <a:gd name="T74" fmla="*/ 0 w 21600"/>
                <a:gd name="T75" fmla="*/ 0 h 21600"/>
                <a:gd name="T76" fmla="*/ 0 w 21600"/>
                <a:gd name="T77" fmla="*/ 0 h 21600"/>
                <a:gd name="T78" fmla="*/ 0 w 21600"/>
                <a:gd name="T79" fmla="*/ 0 h 21600"/>
                <a:gd name="T80" fmla="*/ 0 w 21600"/>
                <a:gd name="T81" fmla="*/ 0 h 21600"/>
                <a:gd name="T82" fmla="*/ 0 w 21600"/>
                <a:gd name="T83" fmla="*/ 0 h 21600"/>
                <a:gd name="T84" fmla="*/ 0 w 21600"/>
                <a:gd name="T85" fmla="*/ 0 h 21600"/>
                <a:gd name="T86" fmla="*/ 0 w 21600"/>
                <a:gd name="T87" fmla="*/ 0 h 21600"/>
                <a:gd name="T88" fmla="*/ 0 w 21600"/>
                <a:gd name="T89" fmla="*/ 0 h 21600"/>
                <a:gd name="T90" fmla="*/ 0 w 21600"/>
                <a:gd name="T91" fmla="*/ 0 h 21600"/>
                <a:gd name="T92" fmla="*/ 0 w 21600"/>
                <a:gd name="T93" fmla="*/ 0 h 21600"/>
                <a:gd name="T94" fmla="*/ 0 w 21600"/>
                <a:gd name="T95" fmla="*/ 0 h 21600"/>
                <a:gd name="T96" fmla="*/ 0 w 21600"/>
                <a:gd name="T97" fmla="*/ 0 h 21600"/>
                <a:gd name="T98" fmla="*/ 0 w 21600"/>
                <a:gd name="T99" fmla="*/ 0 h 21600"/>
                <a:gd name="T100" fmla="*/ 0 w 21600"/>
                <a:gd name="T101" fmla="*/ 0 h 216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600"/>
                <a:gd name="T154" fmla="*/ 0 h 21600"/>
                <a:gd name="T155" fmla="*/ 21600 w 21600"/>
                <a:gd name="T156" fmla="*/ 21600 h 216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600" h="21600">
                  <a:moveTo>
                    <a:pt x="2236" y="9904"/>
                  </a:moveTo>
                  <a:cubicBezTo>
                    <a:pt x="2490" y="10359"/>
                    <a:pt x="2636" y="10997"/>
                    <a:pt x="2734" y="11787"/>
                  </a:cubicBezTo>
                  <a:cubicBezTo>
                    <a:pt x="2833" y="12577"/>
                    <a:pt x="2864" y="13428"/>
                    <a:pt x="2864" y="14460"/>
                  </a:cubicBezTo>
                  <a:cubicBezTo>
                    <a:pt x="2864" y="16952"/>
                    <a:pt x="2688" y="18501"/>
                    <a:pt x="2444" y="19473"/>
                  </a:cubicBezTo>
                  <a:cubicBezTo>
                    <a:pt x="2174" y="20567"/>
                    <a:pt x="1764" y="21175"/>
                    <a:pt x="1105" y="21175"/>
                  </a:cubicBezTo>
                  <a:lnTo>
                    <a:pt x="0" y="21175"/>
                  </a:lnTo>
                  <a:lnTo>
                    <a:pt x="623" y="395"/>
                  </a:lnTo>
                  <a:lnTo>
                    <a:pt x="1717" y="395"/>
                  </a:lnTo>
                  <a:cubicBezTo>
                    <a:pt x="2226" y="395"/>
                    <a:pt x="2480" y="942"/>
                    <a:pt x="2636" y="1671"/>
                  </a:cubicBezTo>
                  <a:cubicBezTo>
                    <a:pt x="2823" y="2552"/>
                    <a:pt x="2885" y="3797"/>
                    <a:pt x="2885" y="4982"/>
                  </a:cubicBezTo>
                  <a:cubicBezTo>
                    <a:pt x="2885" y="7017"/>
                    <a:pt x="2703" y="8871"/>
                    <a:pt x="2236" y="9904"/>
                  </a:cubicBezTo>
                  <a:close/>
                  <a:moveTo>
                    <a:pt x="908" y="17742"/>
                  </a:moveTo>
                  <a:lnTo>
                    <a:pt x="1188" y="17742"/>
                  </a:lnTo>
                  <a:cubicBezTo>
                    <a:pt x="1484" y="17742"/>
                    <a:pt x="1645" y="17529"/>
                    <a:pt x="1775" y="17134"/>
                  </a:cubicBezTo>
                  <a:cubicBezTo>
                    <a:pt x="1920" y="16679"/>
                    <a:pt x="2039" y="15919"/>
                    <a:pt x="2039" y="14643"/>
                  </a:cubicBezTo>
                  <a:cubicBezTo>
                    <a:pt x="2039" y="13792"/>
                    <a:pt x="1987" y="13155"/>
                    <a:pt x="1899" y="12760"/>
                  </a:cubicBezTo>
                  <a:cubicBezTo>
                    <a:pt x="1800" y="12304"/>
                    <a:pt x="1650" y="12091"/>
                    <a:pt x="1437" y="12091"/>
                  </a:cubicBezTo>
                  <a:lnTo>
                    <a:pt x="1079" y="12091"/>
                  </a:lnTo>
                  <a:lnTo>
                    <a:pt x="908" y="17742"/>
                  </a:lnTo>
                  <a:close/>
                  <a:moveTo>
                    <a:pt x="1183" y="8658"/>
                  </a:moveTo>
                  <a:lnTo>
                    <a:pt x="1365" y="8658"/>
                  </a:lnTo>
                  <a:cubicBezTo>
                    <a:pt x="1645" y="8658"/>
                    <a:pt x="1800" y="8324"/>
                    <a:pt x="1909" y="7838"/>
                  </a:cubicBezTo>
                  <a:cubicBezTo>
                    <a:pt x="2018" y="7352"/>
                    <a:pt x="2081" y="6623"/>
                    <a:pt x="2081" y="5742"/>
                  </a:cubicBezTo>
                  <a:cubicBezTo>
                    <a:pt x="2081" y="5134"/>
                    <a:pt x="2055" y="4739"/>
                    <a:pt x="1998" y="4405"/>
                  </a:cubicBezTo>
                  <a:cubicBezTo>
                    <a:pt x="1935" y="4071"/>
                    <a:pt x="1831" y="3828"/>
                    <a:pt x="1603" y="3828"/>
                  </a:cubicBezTo>
                  <a:lnTo>
                    <a:pt x="1328" y="3828"/>
                  </a:lnTo>
                  <a:lnTo>
                    <a:pt x="1183" y="8658"/>
                  </a:lnTo>
                  <a:close/>
                  <a:moveTo>
                    <a:pt x="4140" y="17742"/>
                  </a:moveTo>
                  <a:lnTo>
                    <a:pt x="5749" y="17742"/>
                  </a:lnTo>
                  <a:lnTo>
                    <a:pt x="5650" y="21175"/>
                  </a:lnTo>
                  <a:lnTo>
                    <a:pt x="3227" y="21175"/>
                  </a:lnTo>
                  <a:lnTo>
                    <a:pt x="3850" y="395"/>
                  </a:lnTo>
                  <a:lnTo>
                    <a:pt x="6247" y="395"/>
                  </a:lnTo>
                  <a:lnTo>
                    <a:pt x="6081" y="3828"/>
                  </a:lnTo>
                  <a:lnTo>
                    <a:pt x="4556" y="3828"/>
                  </a:lnTo>
                  <a:lnTo>
                    <a:pt x="4405" y="8871"/>
                  </a:lnTo>
                  <a:lnTo>
                    <a:pt x="5624" y="8871"/>
                  </a:lnTo>
                  <a:lnTo>
                    <a:pt x="5515" y="12425"/>
                  </a:lnTo>
                  <a:lnTo>
                    <a:pt x="4296" y="12425"/>
                  </a:lnTo>
                  <a:lnTo>
                    <a:pt x="4140" y="17742"/>
                  </a:lnTo>
                  <a:close/>
                  <a:moveTo>
                    <a:pt x="8540" y="395"/>
                  </a:moveTo>
                  <a:lnTo>
                    <a:pt x="9298" y="11878"/>
                  </a:lnTo>
                  <a:lnTo>
                    <a:pt x="10792" y="395"/>
                  </a:lnTo>
                  <a:lnTo>
                    <a:pt x="11456" y="395"/>
                  </a:lnTo>
                  <a:lnTo>
                    <a:pt x="10834" y="21175"/>
                  </a:lnTo>
                  <a:lnTo>
                    <a:pt x="10092" y="21175"/>
                  </a:lnTo>
                  <a:lnTo>
                    <a:pt x="10450" y="9053"/>
                  </a:lnTo>
                  <a:lnTo>
                    <a:pt x="9495" y="16436"/>
                  </a:lnTo>
                  <a:lnTo>
                    <a:pt x="8872" y="16436"/>
                  </a:lnTo>
                  <a:lnTo>
                    <a:pt x="8354" y="8658"/>
                  </a:lnTo>
                  <a:lnTo>
                    <a:pt x="7975" y="21175"/>
                  </a:lnTo>
                  <a:lnTo>
                    <a:pt x="7295" y="21175"/>
                  </a:lnTo>
                  <a:lnTo>
                    <a:pt x="7918" y="395"/>
                  </a:lnTo>
                  <a:lnTo>
                    <a:pt x="8540" y="395"/>
                  </a:lnTo>
                  <a:close/>
                  <a:moveTo>
                    <a:pt x="11685" y="13640"/>
                  </a:moveTo>
                  <a:cubicBezTo>
                    <a:pt x="11685" y="10451"/>
                    <a:pt x="11820" y="7321"/>
                    <a:pt x="12058" y="4921"/>
                  </a:cubicBezTo>
                  <a:cubicBezTo>
                    <a:pt x="12380" y="1701"/>
                    <a:pt x="12893" y="0"/>
                    <a:pt x="13610" y="0"/>
                  </a:cubicBezTo>
                  <a:cubicBezTo>
                    <a:pt x="14429" y="0"/>
                    <a:pt x="14990" y="2521"/>
                    <a:pt x="14990" y="7959"/>
                  </a:cubicBezTo>
                  <a:cubicBezTo>
                    <a:pt x="14990" y="11149"/>
                    <a:pt x="14855" y="14278"/>
                    <a:pt x="14616" y="16678"/>
                  </a:cubicBezTo>
                  <a:cubicBezTo>
                    <a:pt x="14295" y="19899"/>
                    <a:pt x="13781" y="21600"/>
                    <a:pt x="13065" y="21600"/>
                  </a:cubicBezTo>
                  <a:cubicBezTo>
                    <a:pt x="12245" y="21600"/>
                    <a:pt x="11685" y="19078"/>
                    <a:pt x="11685" y="13640"/>
                  </a:cubicBezTo>
                  <a:close/>
                  <a:moveTo>
                    <a:pt x="12790" y="6775"/>
                  </a:moveTo>
                  <a:cubicBezTo>
                    <a:pt x="12619" y="8688"/>
                    <a:pt x="12520" y="11180"/>
                    <a:pt x="12520" y="13640"/>
                  </a:cubicBezTo>
                  <a:cubicBezTo>
                    <a:pt x="12520" y="16770"/>
                    <a:pt x="12764" y="17894"/>
                    <a:pt x="13127" y="17894"/>
                  </a:cubicBezTo>
                  <a:cubicBezTo>
                    <a:pt x="13469" y="17894"/>
                    <a:pt x="13713" y="16709"/>
                    <a:pt x="13885" y="14825"/>
                  </a:cubicBezTo>
                  <a:cubicBezTo>
                    <a:pt x="14056" y="12912"/>
                    <a:pt x="14154" y="10420"/>
                    <a:pt x="14154" y="7960"/>
                  </a:cubicBezTo>
                  <a:cubicBezTo>
                    <a:pt x="14154" y="4830"/>
                    <a:pt x="13911" y="3706"/>
                    <a:pt x="13547" y="3706"/>
                  </a:cubicBezTo>
                  <a:cubicBezTo>
                    <a:pt x="13205" y="3706"/>
                    <a:pt x="12961" y="4891"/>
                    <a:pt x="12790" y="6775"/>
                  </a:cubicBezTo>
                  <a:close/>
                  <a:moveTo>
                    <a:pt x="18098" y="10177"/>
                  </a:moveTo>
                  <a:cubicBezTo>
                    <a:pt x="17963" y="11271"/>
                    <a:pt x="17745" y="12182"/>
                    <a:pt x="17459" y="12851"/>
                  </a:cubicBezTo>
                  <a:lnTo>
                    <a:pt x="18009" y="21175"/>
                  </a:lnTo>
                  <a:lnTo>
                    <a:pt x="17143" y="21175"/>
                  </a:lnTo>
                  <a:lnTo>
                    <a:pt x="16728" y="13641"/>
                  </a:lnTo>
                  <a:lnTo>
                    <a:pt x="16251" y="13641"/>
                  </a:lnTo>
                  <a:lnTo>
                    <a:pt x="16027" y="21175"/>
                  </a:lnTo>
                  <a:lnTo>
                    <a:pt x="15218" y="21175"/>
                  </a:lnTo>
                  <a:lnTo>
                    <a:pt x="15841" y="395"/>
                  </a:lnTo>
                  <a:lnTo>
                    <a:pt x="17050" y="395"/>
                  </a:lnTo>
                  <a:cubicBezTo>
                    <a:pt x="17491" y="395"/>
                    <a:pt x="17797" y="942"/>
                    <a:pt x="17989" y="1914"/>
                  </a:cubicBezTo>
                  <a:cubicBezTo>
                    <a:pt x="18202" y="2977"/>
                    <a:pt x="18290" y="4526"/>
                    <a:pt x="18290" y="6319"/>
                  </a:cubicBezTo>
                  <a:cubicBezTo>
                    <a:pt x="18290" y="7807"/>
                    <a:pt x="18227" y="9114"/>
                    <a:pt x="18098" y="10177"/>
                  </a:cubicBezTo>
                  <a:close/>
                  <a:moveTo>
                    <a:pt x="16354" y="10208"/>
                  </a:moveTo>
                  <a:lnTo>
                    <a:pt x="16666" y="10208"/>
                  </a:lnTo>
                  <a:cubicBezTo>
                    <a:pt x="16915" y="10208"/>
                    <a:pt x="17138" y="9934"/>
                    <a:pt x="17288" y="9114"/>
                  </a:cubicBezTo>
                  <a:cubicBezTo>
                    <a:pt x="17408" y="8476"/>
                    <a:pt x="17486" y="7443"/>
                    <a:pt x="17486" y="6349"/>
                  </a:cubicBezTo>
                  <a:cubicBezTo>
                    <a:pt x="17486" y="5651"/>
                    <a:pt x="17454" y="5012"/>
                    <a:pt x="17382" y="4587"/>
                  </a:cubicBezTo>
                  <a:cubicBezTo>
                    <a:pt x="17299" y="4101"/>
                    <a:pt x="17169" y="3828"/>
                    <a:pt x="16951" y="3828"/>
                  </a:cubicBezTo>
                  <a:lnTo>
                    <a:pt x="16546" y="3828"/>
                  </a:lnTo>
                  <a:lnTo>
                    <a:pt x="16354" y="10208"/>
                  </a:lnTo>
                  <a:close/>
                  <a:moveTo>
                    <a:pt x="19493" y="17742"/>
                  </a:moveTo>
                  <a:lnTo>
                    <a:pt x="21102" y="17742"/>
                  </a:lnTo>
                  <a:lnTo>
                    <a:pt x="21003" y="21175"/>
                  </a:lnTo>
                  <a:lnTo>
                    <a:pt x="18580" y="21175"/>
                  </a:lnTo>
                  <a:lnTo>
                    <a:pt x="19203" y="395"/>
                  </a:lnTo>
                  <a:lnTo>
                    <a:pt x="21600" y="395"/>
                  </a:lnTo>
                  <a:lnTo>
                    <a:pt x="21434" y="3828"/>
                  </a:lnTo>
                  <a:lnTo>
                    <a:pt x="19909" y="3828"/>
                  </a:lnTo>
                  <a:lnTo>
                    <a:pt x="19758" y="8871"/>
                  </a:lnTo>
                  <a:lnTo>
                    <a:pt x="20977" y="8871"/>
                  </a:lnTo>
                  <a:lnTo>
                    <a:pt x="20868" y="12425"/>
                  </a:lnTo>
                  <a:lnTo>
                    <a:pt x="19649" y="12425"/>
                  </a:lnTo>
                  <a:lnTo>
                    <a:pt x="19493" y="17742"/>
                  </a:lnTo>
                  <a:close/>
                  <a:moveTo>
                    <a:pt x="19493" y="17742"/>
                  </a:moveTo>
                </a:path>
              </a:pathLst>
            </a:custGeom>
            <a:solidFill>
              <a:srgbClr val="003245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662" kern="0">
                <a:solidFill>
                  <a:sysClr val="windowText" lastClr="000000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8" name="AutoShape 3"/>
            <p:cNvSpPr>
              <a:spLocks/>
            </p:cNvSpPr>
            <p:nvPr/>
          </p:nvSpPr>
          <p:spPr bwMode="auto">
            <a:xfrm>
              <a:off x="533" y="98"/>
              <a:ext cx="58" cy="1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600"/>
                <a:gd name="T19" fmla="*/ 0 h 21600"/>
                <a:gd name="T20" fmla="*/ 21600 w 21600"/>
                <a:gd name="T21" fmla="*/ 21600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0" y="21600"/>
                  </a:moveTo>
                  <a:lnTo>
                    <a:pt x="870" y="0"/>
                  </a:lnTo>
                  <a:lnTo>
                    <a:pt x="21600" y="0"/>
                  </a:lnTo>
                  <a:lnTo>
                    <a:pt x="20730" y="21600"/>
                  </a:lnTo>
                  <a:lnTo>
                    <a:pt x="0" y="21600"/>
                  </a:lnTo>
                  <a:close/>
                  <a:moveTo>
                    <a:pt x="0" y="21600"/>
                  </a:moveTo>
                </a:path>
              </a:pathLst>
            </a:custGeom>
            <a:solidFill>
              <a:srgbClr val="7DFE9D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662" kern="0">
                <a:solidFill>
                  <a:sysClr val="windowText" lastClr="000000"/>
                </a:solidFill>
                <a:latin typeface="Trebuchet MS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070083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becera con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"/>
            <a:ext cx="9144000" cy="83661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 marL="161196" indent="0">
              <a:defRPr lang="de-DE" dirty="0"/>
            </a:lvl1pPr>
          </a:lstStyle>
          <a:p>
            <a:pPr lvl="0"/>
            <a:r>
              <a:rPr lang="en-GB" dirty="0"/>
              <a:t>Titular de la </a:t>
            </a:r>
            <a:r>
              <a:rPr lang="en-GB" dirty="0" err="1"/>
              <a:t>diapositiva</a:t>
            </a:r>
            <a:r>
              <a:rPr lang="en-GB" dirty="0"/>
              <a:t> (22 </a:t>
            </a:r>
            <a:r>
              <a:rPr lang="en-GB" dirty="0" err="1"/>
              <a:t>puntos</a:t>
            </a:r>
            <a:r>
              <a:rPr lang="en-GB" dirty="0"/>
              <a:t>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65849" y="1268420"/>
            <a:ext cx="8593477" cy="4684187"/>
          </a:xfrm>
        </p:spPr>
        <p:txBody>
          <a:bodyPr/>
          <a:lstStyle>
            <a:lvl1pPr>
              <a:spcBef>
                <a:spcPts val="1108"/>
              </a:spcBef>
              <a:defRPr/>
            </a:lvl1pPr>
            <a:lvl2pPr>
              <a:spcBef>
                <a:spcPts val="738"/>
              </a:spcBef>
              <a:defRPr/>
            </a:lvl2pPr>
            <a:lvl3pPr>
              <a:spcBef>
                <a:spcPts val="554"/>
              </a:spcBef>
              <a:defRPr/>
            </a:lvl3pPr>
            <a:lvl4pPr>
              <a:spcBef>
                <a:spcPts val="369"/>
              </a:spcBef>
              <a:defRPr/>
            </a:lvl4pPr>
            <a:lvl5pPr>
              <a:spcBef>
                <a:spcPts val="185"/>
              </a:spcBef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8961852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bec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"/>
            <a:ext cx="9144000" cy="83661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 marL="161196" indent="0">
              <a:defRPr lang="de-DE" dirty="0"/>
            </a:lvl1pPr>
          </a:lstStyle>
          <a:p>
            <a:pPr lvl="0"/>
            <a:r>
              <a:rPr lang="en-GB" dirty="0"/>
              <a:t>Titular de la </a:t>
            </a:r>
            <a:r>
              <a:rPr lang="en-GB" dirty="0" err="1"/>
              <a:t>diapositiva</a:t>
            </a:r>
            <a:r>
              <a:rPr lang="en-GB" dirty="0"/>
              <a:t> (22 </a:t>
            </a:r>
            <a:r>
              <a:rPr lang="en-GB" dirty="0" err="1"/>
              <a:t>puntos</a:t>
            </a:r>
            <a:r>
              <a:rPr lang="en-GB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3247629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3"/>
          <p:cNvSpPr>
            <a:spLocks/>
          </p:cNvSpPr>
          <p:nvPr userDrawn="1"/>
        </p:nvSpPr>
        <p:spPr bwMode="auto">
          <a:xfrm rot="10800000">
            <a:off x="7164309" y="6332538"/>
            <a:ext cx="864577" cy="49211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ysClr val="windowText" lastClr="000000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7" name="Rectangle 12"/>
          <p:cNvSpPr>
            <a:spLocks/>
          </p:cNvSpPr>
          <p:nvPr userDrawn="1"/>
        </p:nvSpPr>
        <p:spPr bwMode="auto">
          <a:xfrm rot="10800000">
            <a:off x="8015697" y="6332538"/>
            <a:ext cx="1122485" cy="49211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ysClr val="windowText" lastClr="000000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9" name="Rectangle 14"/>
          <p:cNvSpPr>
            <a:spLocks/>
          </p:cNvSpPr>
          <p:nvPr userDrawn="1"/>
        </p:nvSpPr>
        <p:spPr bwMode="auto">
          <a:xfrm rot="10800000">
            <a:off x="6268916" y="6332538"/>
            <a:ext cx="895350" cy="49211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ysClr val="windowText" lastClr="000000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10" name="Rectangle 15"/>
          <p:cNvSpPr>
            <a:spLocks/>
          </p:cNvSpPr>
          <p:nvPr userDrawn="1"/>
        </p:nvSpPr>
        <p:spPr bwMode="auto">
          <a:xfrm rot="10800000">
            <a:off x="-5845" y="6332538"/>
            <a:ext cx="6274777" cy="49211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ysClr val="windowText" lastClr="000000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11" name="AutoShape 5"/>
          <p:cNvSpPr>
            <a:spLocks/>
          </p:cNvSpPr>
          <p:nvPr userDrawn="1"/>
        </p:nvSpPr>
        <p:spPr bwMode="auto">
          <a:xfrm>
            <a:off x="8028848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662" kern="0">
              <a:solidFill>
                <a:sysClr val="windowText" lastClr="000000"/>
              </a:solidFill>
              <a:latin typeface="Trebuchet MS"/>
              <a:cs typeface="Arial" panose="020B0604020202020204" pitchFamily="34" charset="0"/>
            </a:endParaRPr>
          </a:p>
        </p:txBody>
      </p:sp>
      <p:grpSp>
        <p:nvGrpSpPr>
          <p:cNvPr id="12" name="Grupo 1"/>
          <p:cNvGrpSpPr/>
          <p:nvPr userDrawn="1"/>
        </p:nvGrpSpPr>
        <p:grpSpPr>
          <a:xfrm>
            <a:off x="58869" y="6464195"/>
            <a:ext cx="1957587" cy="347874"/>
            <a:chOff x="58864" y="6464175"/>
            <a:chExt cx="1957589" cy="347874"/>
          </a:xfrm>
        </p:grpSpPr>
        <p:grpSp>
          <p:nvGrpSpPr>
            <p:cNvPr id="13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5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003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662" kern="0">
                  <a:solidFill>
                    <a:sysClr val="windowText" lastClr="000000"/>
                  </a:solidFill>
                  <a:latin typeface="Trebuchet MS"/>
                  <a:cs typeface="Arial" panose="020B0604020202020204" pitchFamily="34" charset="0"/>
                </a:endParaRPr>
              </a:p>
            </p:txBody>
          </p:sp>
          <p:sp>
            <p:nvSpPr>
              <p:cNvPr id="16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662" kern="0">
                  <a:solidFill>
                    <a:sysClr val="windowText" lastClr="000000"/>
                  </a:solidFill>
                  <a:latin typeface="Trebuchet MS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4" name="22 CuadroTexto"/>
            <p:cNvSpPr txBox="1"/>
            <p:nvPr userDrawn="1"/>
          </p:nvSpPr>
          <p:spPr>
            <a:xfrm>
              <a:off x="58864" y="6577689"/>
              <a:ext cx="1957589" cy="2343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23" i="1" kern="0" dirty="0">
                  <a:solidFill>
                    <a:srgbClr val="4BACC6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  <p:sp>
        <p:nvSpPr>
          <p:cNvPr id="17" name="TextBox 16"/>
          <p:cNvSpPr txBox="1">
            <a:spLocks noChangeArrowheads="1"/>
          </p:cNvSpPr>
          <p:nvPr userDrawn="1"/>
        </p:nvSpPr>
        <p:spPr bwMode="gray">
          <a:xfrm>
            <a:off x="4297023" y="6535854"/>
            <a:ext cx="51117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84406" tIns="42203" rIns="84406" bIns="42203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000">
                <a:solidFill>
                  <a:srgbClr val="072534"/>
                </a:solidFill>
                <a:latin typeface="Trebuchet MS" pitchFamily="34" charset="0"/>
              </a:defRPr>
            </a:lvl1pPr>
          </a:lstStyle>
          <a:p>
            <a:pPr algn="ctr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5D33EE1-E5CA-4D6E-B095-AB5B5FA687D6}" type="slidenum">
              <a:rPr lang="en-GB" sz="923" kern="0" smtClean="0">
                <a:latin typeface="Trebuchet MS"/>
                <a:cs typeface="Arial" panose="020B0604020202020204" pitchFamily="34" charset="0"/>
              </a:rPr>
              <a:pPr algn="ctr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GB" sz="923" kern="0" dirty="0">
              <a:latin typeface="Trebuchet MS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4812697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utoShape 5"/>
          <p:cNvSpPr>
            <a:spLocks/>
          </p:cNvSpPr>
          <p:nvPr userDrawn="1"/>
        </p:nvSpPr>
        <p:spPr bwMode="auto">
          <a:xfrm>
            <a:off x="8028848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16" name="Rectangle 13"/>
          <p:cNvSpPr>
            <a:spLocks/>
          </p:cNvSpPr>
          <p:nvPr userDrawn="1"/>
        </p:nvSpPr>
        <p:spPr bwMode="auto">
          <a:xfrm rot="10800000">
            <a:off x="7164309" y="6332538"/>
            <a:ext cx="864577" cy="49211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17" name="Rectangle 12"/>
          <p:cNvSpPr>
            <a:spLocks/>
          </p:cNvSpPr>
          <p:nvPr userDrawn="1"/>
        </p:nvSpPr>
        <p:spPr bwMode="auto">
          <a:xfrm rot="10800000">
            <a:off x="8015697" y="6332538"/>
            <a:ext cx="1122485" cy="49211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18" name="Rectangle 14"/>
          <p:cNvSpPr>
            <a:spLocks/>
          </p:cNvSpPr>
          <p:nvPr userDrawn="1"/>
        </p:nvSpPr>
        <p:spPr bwMode="auto">
          <a:xfrm rot="10800000">
            <a:off x="6268916" y="6332538"/>
            <a:ext cx="895350" cy="49211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19" name="Rectangle 15"/>
          <p:cNvSpPr>
            <a:spLocks/>
          </p:cNvSpPr>
          <p:nvPr userDrawn="1"/>
        </p:nvSpPr>
        <p:spPr bwMode="auto">
          <a:xfrm rot="10800000">
            <a:off x="-5845" y="6332538"/>
            <a:ext cx="6274777" cy="49211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20" name="AutoShape 1"/>
          <p:cNvSpPr>
            <a:spLocks/>
          </p:cNvSpPr>
          <p:nvPr userDrawn="1"/>
        </p:nvSpPr>
        <p:spPr bwMode="auto">
          <a:xfrm>
            <a:off x="4812407" y="46572"/>
            <a:ext cx="4287838" cy="701675"/>
          </a:xfrm>
          <a:custGeom>
            <a:avLst/>
            <a:gdLst>
              <a:gd name="T0" fmla="*/ 2458 w 21600"/>
              <a:gd name="T1" fmla="*/ 2391 h 21600"/>
              <a:gd name="T2" fmla="*/ 2237 w 21600"/>
              <a:gd name="T3" fmla="*/ 15634 h 21600"/>
              <a:gd name="T4" fmla="*/ 0 w 21600"/>
              <a:gd name="T5" fmla="*/ 18315 h 21600"/>
              <a:gd name="T6" fmla="*/ 1376 w 21600"/>
              <a:gd name="T7" fmla="*/ 341 h 21600"/>
              <a:gd name="T8" fmla="*/ 971 w 21600"/>
              <a:gd name="T9" fmla="*/ 15319 h 21600"/>
              <a:gd name="T10" fmla="*/ 2028 w 21600"/>
              <a:gd name="T11" fmla="*/ 7436 h 21600"/>
              <a:gd name="T12" fmla="*/ 1359 w 21600"/>
              <a:gd name="T13" fmla="*/ 3337 h 21600"/>
              <a:gd name="T14" fmla="*/ 750 w 21600"/>
              <a:gd name="T15" fmla="*/ 15319 h 21600"/>
              <a:gd name="T16" fmla="*/ 3591 w 21600"/>
              <a:gd name="T17" fmla="*/ 18315 h 21600"/>
              <a:gd name="T18" fmla="*/ 3438 w 21600"/>
              <a:gd name="T19" fmla="*/ 341 h 21600"/>
              <a:gd name="T20" fmla="*/ 5406 w 21600"/>
              <a:gd name="T21" fmla="*/ 11010 h 21600"/>
              <a:gd name="T22" fmla="*/ 5176 w 21600"/>
              <a:gd name="T23" fmla="*/ 15529 h 21600"/>
              <a:gd name="T24" fmla="*/ 4196 w 21600"/>
              <a:gd name="T25" fmla="*/ 17606 h 21600"/>
              <a:gd name="T26" fmla="*/ 6088 w 21600"/>
              <a:gd name="T27" fmla="*/ 17185 h 21600"/>
              <a:gd name="T28" fmla="*/ 5832 w 21600"/>
              <a:gd name="T29" fmla="*/ 8014 h 21600"/>
              <a:gd name="T30" fmla="*/ 5151 w 21600"/>
              <a:gd name="T31" fmla="*/ 5071 h 21600"/>
              <a:gd name="T32" fmla="*/ 6373 w 21600"/>
              <a:gd name="T33" fmla="*/ 3836 h 21600"/>
              <a:gd name="T34" fmla="*/ 5700 w 21600"/>
              <a:gd name="T35" fmla="*/ 0 h 21600"/>
              <a:gd name="T36" fmla="*/ 4516 w 21600"/>
              <a:gd name="T37" fmla="*/ 5570 h 21600"/>
              <a:gd name="T38" fmla="*/ 5406 w 21600"/>
              <a:gd name="T39" fmla="*/ 11010 h 21600"/>
              <a:gd name="T40" fmla="*/ 8384 w 21600"/>
              <a:gd name="T41" fmla="*/ 0 h 21600"/>
              <a:gd name="T42" fmla="*/ 6787 w 21600"/>
              <a:gd name="T43" fmla="*/ 11562 h 21600"/>
              <a:gd name="T44" fmla="*/ 8708 w 21600"/>
              <a:gd name="T45" fmla="*/ 18131 h 21600"/>
              <a:gd name="T46" fmla="*/ 8137 w 21600"/>
              <a:gd name="T47" fmla="*/ 15504 h 21600"/>
              <a:gd name="T48" fmla="*/ 7473 w 21600"/>
              <a:gd name="T49" fmla="*/ 11324 h 21600"/>
              <a:gd name="T50" fmla="*/ 8431 w 21600"/>
              <a:gd name="T51" fmla="*/ 3179 h 21600"/>
              <a:gd name="T52" fmla="*/ 9194 w 21600"/>
              <a:gd name="T53" fmla="*/ 867 h 21600"/>
              <a:gd name="T54" fmla="*/ 9569 w 21600"/>
              <a:gd name="T55" fmla="*/ 4257 h 21600"/>
              <a:gd name="T56" fmla="*/ 11976 w 21600"/>
              <a:gd name="T57" fmla="*/ 6884 h 21600"/>
              <a:gd name="T58" fmla="*/ 10395 w 21600"/>
              <a:gd name="T59" fmla="*/ 18683 h 21600"/>
              <a:gd name="T60" fmla="*/ 10169 w 21600"/>
              <a:gd name="T61" fmla="*/ 5860 h 21600"/>
              <a:gd name="T62" fmla="*/ 10446 w 21600"/>
              <a:gd name="T63" fmla="*/ 15477 h 21600"/>
              <a:gd name="T64" fmla="*/ 11290 w 21600"/>
              <a:gd name="T65" fmla="*/ 6884 h 21600"/>
              <a:gd name="T66" fmla="*/ 10169 w 21600"/>
              <a:gd name="T67" fmla="*/ 5860 h 21600"/>
              <a:gd name="T68" fmla="*/ 12811 w 21600"/>
              <a:gd name="T69" fmla="*/ 18315 h 21600"/>
              <a:gd name="T70" fmla="*/ 15009 w 21600"/>
              <a:gd name="T71" fmla="*/ 341 h 21600"/>
              <a:gd name="T72" fmla="*/ 13314 w 21600"/>
              <a:gd name="T73" fmla="*/ 13585 h 21600"/>
              <a:gd name="T74" fmla="*/ 12308 w 21600"/>
              <a:gd name="T75" fmla="*/ 341 h 21600"/>
              <a:gd name="T76" fmla="*/ 16726 w 21600"/>
              <a:gd name="T77" fmla="*/ 10747 h 21600"/>
              <a:gd name="T78" fmla="*/ 15815 w 21600"/>
              <a:gd name="T79" fmla="*/ 7673 h 21600"/>
              <a:gd name="T80" fmla="*/ 17191 w 21600"/>
              <a:gd name="T81" fmla="*/ 3311 h 21600"/>
              <a:gd name="T82" fmla="*/ 15359 w 21600"/>
              <a:gd name="T83" fmla="*/ 341 h 21600"/>
              <a:gd name="T84" fmla="*/ 16837 w 21600"/>
              <a:gd name="T85" fmla="*/ 18315 h 21600"/>
              <a:gd name="T86" fmla="*/ 15597 w 21600"/>
              <a:gd name="T87" fmla="*/ 15346 h 21600"/>
              <a:gd name="T88" fmla="*/ 19700 w 21600"/>
              <a:gd name="T89" fmla="*/ 8803 h 21600"/>
              <a:gd name="T90" fmla="*/ 19628 w 21600"/>
              <a:gd name="T91" fmla="*/ 18315 h 21600"/>
              <a:gd name="T92" fmla="*/ 18575 w 21600"/>
              <a:gd name="T93" fmla="*/ 11799 h 21600"/>
              <a:gd name="T94" fmla="*/ 18000 w 21600"/>
              <a:gd name="T95" fmla="*/ 18315 h 21600"/>
              <a:gd name="T96" fmla="*/ 17847 w 21600"/>
              <a:gd name="T97" fmla="*/ 341 h 21600"/>
              <a:gd name="T98" fmla="*/ 19611 w 21600"/>
              <a:gd name="T99" fmla="*/ 1655 h 21600"/>
              <a:gd name="T100" fmla="*/ 19700 w 21600"/>
              <a:gd name="T101" fmla="*/ 8803 h 21600"/>
              <a:gd name="T102" fmla="*/ 18524 w 21600"/>
              <a:gd name="T103" fmla="*/ 8830 h 21600"/>
              <a:gd name="T104" fmla="*/ 19197 w 21600"/>
              <a:gd name="T105" fmla="*/ 5492 h 21600"/>
              <a:gd name="T106" fmla="*/ 18758 w 21600"/>
              <a:gd name="T107" fmla="*/ 3311 h 21600"/>
              <a:gd name="T108" fmla="*/ 18268 w 21600"/>
              <a:gd name="T109" fmla="*/ 8830 h 21600"/>
              <a:gd name="T110" fmla="*/ 21600 w 21600"/>
              <a:gd name="T111" fmla="*/ 19051 h 21600"/>
              <a:gd name="T112" fmla="*/ 19696 w 21600"/>
              <a:gd name="T113" fmla="*/ 21600 h 21600"/>
              <a:gd name="T114" fmla="*/ 21523 w 21600"/>
              <a:gd name="T11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1600" h="21600">
                <a:moveTo>
                  <a:pt x="1376" y="341"/>
                </a:moveTo>
                <a:cubicBezTo>
                  <a:pt x="1811" y="341"/>
                  <a:pt x="2215" y="815"/>
                  <a:pt x="2458" y="2391"/>
                </a:cubicBezTo>
                <a:cubicBezTo>
                  <a:pt x="2650" y="3626"/>
                  <a:pt x="2714" y="5334"/>
                  <a:pt x="2714" y="7357"/>
                </a:cubicBezTo>
                <a:cubicBezTo>
                  <a:pt x="2714" y="10564"/>
                  <a:pt x="2556" y="13612"/>
                  <a:pt x="2237" y="15634"/>
                </a:cubicBezTo>
                <a:cubicBezTo>
                  <a:pt x="1900" y="17764"/>
                  <a:pt x="1431" y="18315"/>
                  <a:pt x="903" y="18315"/>
                </a:cubicBezTo>
                <a:lnTo>
                  <a:pt x="0" y="18315"/>
                </a:lnTo>
                <a:lnTo>
                  <a:pt x="511" y="341"/>
                </a:lnTo>
                <a:lnTo>
                  <a:pt x="1376" y="341"/>
                </a:lnTo>
                <a:close/>
                <a:moveTo>
                  <a:pt x="750" y="15319"/>
                </a:moveTo>
                <a:lnTo>
                  <a:pt x="971" y="15319"/>
                </a:lnTo>
                <a:cubicBezTo>
                  <a:pt x="1333" y="15319"/>
                  <a:pt x="1572" y="14768"/>
                  <a:pt x="1760" y="13112"/>
                </a:cubicBezTo>
                <a:cubicBezTo>
                  <a:pt x="1913" y="11745"/>
                  <a:pt x="2028" y="9669"/>
                  <a:pt x="2028" y="7436"/>
                </a:cubicBezTo>
                <a:cubicBezTo>
                  <a:pt x="2028" y="6070"/>
                  <a:pt x="1985" y="5098"/>
                  <a:pt x="1887" y="4415"/>
                </a:cubicBezTo>
                <a:cubicBezTo>
                  <a:pt x="1785" y="3705"/>
                  <a:pt x="1623" y="3337"/>
                  <a:pt x="1359" y="3337"/>
                </a:cubicBezTo>
                <a:lnTo>
                  <a:pt x="1091" y="3337"/>
                </a:lnTo>
                <a:lnTo>
                  <a:pt x="750" y="15319"/>
                </a:lnTo>
                <a:close/>
                <a:moveTo>
                  <a:pt x="2927" y="18315"/>
                </a:moveTo>
                <a:lnTo>
                  <a:pt x="3591" y="18315"/>
                </a:lnTo>
                <a:lnTo>
                  <a:pt x="4103" y="341"/>
                </a:lnTo>
                <a:lnTo>
                  <a:pt x="3438" y="341"/>
                </a:lnTo>
                <a:lnTo>
                  <a:pt x="2927" y="18315"/>
                </a:lnTo>
                <a:close/>
                <a:moveTo>
                  <a:pt x="5406" y="11010"/>
                </a:moveTo>
                <a:cubicBezTo>
                  <a:pt x="5671" y="11667"/>
                  <a:pt x="5777" y="12298"/>
                  <a:pt x="5777" y="13296"/>
                </a:cubicBezTo>
                <a:cubicBezTo>
                  <a:pt x="5777" y="15083"/>
                  <a:pt x="5449" y="15529"/>
                  <a:pt x="5176" y="15529"/>
                </a:cubicBezTo>
                <a:cubicBezTo>
                  <a:pt x="4895" y="15529"/>
                  <a:pt x="4567" y="15109"/>
                  <a:pt x="4329" y="14558"/>
                </a:cubicBezTo>
                <a:lnTo>
                  <a:pt x="4196" y="17606"/>
                </a:lnTo>
                <a:cubicBezTo>
                  <a:pt x="4524" y="18341"/>
                  <a:pt x="4861" y="18682"/>
                  <a:pt x="5172" y="18682"/>
                </a:cubicBezTo>
                <a:cubicBezTo>
                  <a:pt x="5547" y="18682"/>
                  <a:pt x="5862" y="18183"/>
                  <a:pt x="6088" y="17185"/>
                </a:cubicBezTo>
                <a:cubicBezTo>
                  <a:pt x="6331" y="16108"/>
                  <a:pt x="6425" y="14557"/>
                  <a:pt x="6425" y="12876"/>
                </a:cubicBezTo>
                <a:cubicBezTo>
                  <a:pt x="6425" y="10563"/>
                  <a:pt x="6241" y="9039"/>
                  <a:pt x="5832" y="8014"/>
                </a:cubicBezTo>
                <a:lnTo>
                  <a:pt x="5581" y="7384"/>
                </a:lnTo>
                <a:cubicBezTo>
                  <a:pt x="5244" y="6542"/>
                  <a:pt x="5151" y="5859"/>
                  <a:pt x="5151" y="5071"/>
                </a:cubicBezTo>
                <a:cubicBezTo>
                  <a:pt x="5151" y="3731"/>
                  <a:pt x="5394" y="3153"/>
                  <a:pt x="5700" y="3153"/>
                </a:cubicBezTo>
                <a:cubicBezTo>
                  <a:pt x="5909" y="3153"/>
                  <a:pt x="6143" y="3415"/>
                  <a:pt x="6373" y="3836"/>
                </a:cubicBezTo>
                <a:lnTo>
                  <a:pt x="6540" y="946"/>
                </a:lnTo>
                <a:cubicBezTo>
                  <a:pt x="6250" y="341"/>
                  <a:pt x="5986" y="0"/>
                  <a:pt x="5700" y="0"/>
                </a:cubicBezTo>
                <a:cubicBezTo>
                  <a:pt x="5368" y="0"/>
                  <a:pt x="5074" y="473"/>
                  <a:pt x="4870" y="1340"/>
                </a:cubicBezTo>
                <a:cubicBezTo>
                  <a:pt x="4644" y="2285"/>
                  <a:pt x="4516" y="3758"/>
                  <a:pt x="4516" y="5570"/>
                </a:cubicBezTo>
                <a:cubicBezTo>
                  <a:pt x="4516" y="7830"/>
                  <a:pt x="4716" y="9276"/>
                  <a:pt x="5155" y="10379"/>
                </a:cubicBezTo>
                <a:lnTo>
                  <a:pt x="5406" y="11010"/>
                </a:lnTo>
                <a:close/>
                <a:moveTo>
                  <a:pt x="9194" y="867"/>
                </a:moveTo>
                <a:cubicBezTo>
                  <a:pt x="8947" y="368"/>
                  <a:pt x="8678" y="0"/>
                  <a:pt x="8384" y="0"/>
                </a:cubicBezTo>
                <a:cubicBezTo>
                  <a:pt x="7988" y="0"/>
                  <a:pt x="7601" y="605"/>
                  <a:pt x="7298" y="2602"/>
                </a:cubicBezTo>
                <a:cubicBezTo>
                  <a:pt x="6949" y="4914"/>
                  <a:pt x="6787" y="8592"/>
                  <a:pt x="6787" y="11562"/>
                </a:cubicBezTo>
                <a:cubicBezTo>
                  <a:pt x="6787" y="16423"/>
                  <a:pt x="7204" y="18683"/>
                  <a:pt x="7988" y="18683"/>
                </a:cubicBezTo>
                <a:cubicBezTo>
                  <a:pt x="8244" y="18683"/>
                  <a:pt x="8525" y="18446"/>
                  <a:pt x="8708" y="18131"/>
                </a:cubicBezTo>
                <a:lnTo>
                  <a:pt x="8725" y="15135"/>
                </a:lnTo>
                <a:cubicBezTo>
                  <a:pt x="8546" y="15346"/>
                  <a:pt x="8320" y="15504"/>
                  <a:pt x="8137" y="15504"/>
                </a:cubicBezTo>
                <a:cubicBezTo>
                  <a:pt x="7903" y="15504"/>
                  <a:pt x="7711" y="15240"/>
                  <a:pt x="7596" y="14294"/>
                </a:cubicBezTo>
                <a:cubicBezTo>
                  <a:pt x="7502" y="13532"/>
                  <a:pt x="7473" y="12429"/>
                  <a:pt x="7473" y="11324"/>
                </a:cubicBezTo>
                <a:cubicBezTo>
                  <a:pt x="7473" y="9224"/>
                  <a:pt x="7583" y="6884"/>
                  <a:pt x="7733" y="5440"/>
                </a:cubicBezTo>
                <a:cubicBezTo>
                  <a:pt x="7916" y="3652"/>
                  <a:pt x="8163" y="3179"/>
                  <a:pt x="8431" y="3179"/>
                </a:cubicBezTo>
                <a:cubicBezTo>
                  <a:pt x="8644" y="3179"/>
                  <a:pt x="8849" y="3469"/>
                  <a:pt x="9028" y="3784"/>
                </a:cubicBezTo>
                <a:lnTo>
                  <a:pt x="9194" y="867"/>
                </a:lnTo>
                <a:close/>
                <a:moveTo>
                  <a:pt x="9262" y="11799"/>
                </a:moveTo>
                <a:cubicBezTo>
                  <a:pt x="9262" y="9039"/>
                  <a:pt x="9373" y="6333"/>
                  <a:pt x="9569" y="4257"/>
                </a:cubicBezTo>
                <a:cubicBezTo>
                  <a:pt x="9833" y="1472"/>
                  <a:pt x="10255" y="0"/>
                  <a:pt x="10843" y="0"/>
                </a:cubicBezTo>
                <a:cubicBezTo>
                  <a:pt x="11516" y="0"/>
                  <a:pt x="11976" y="2181"/>
                  <a:pt x="11976" y="6884"/>
                </a:cubicBezTo>
                <a:cubicBezTo>
                  <a:pt x="11976" y="9644"/>
                  <a:pt x="11865" y="12350"/>
                  <a:pt x="11669" y="14426"/>
                </a:cubicBezTo>
                <a:cubicBezTo>
                  <a:pt x="11405" y="17211"/>
                  <a:pt x="10983" y="18683"/>
                  <a:pt x="10395" y="18683"/>
                </a:cubicBezTo>
                <a:cubicBezTo>
                  <a:pt x="9722" y="18683"/>
                  <a:pt x="9262" y="16502"/>
                  <a:pt x="9262" y="11799"/>
                </a:cubicBezTo>
                <a:moveTo>
                  <a:pt x="10169" y="5860"/>
                </a:moveTo>
                <a:cubicBezTo>
                  <a:pt x="10029" y="7516"/>
                  <a:pt x="9948" y="9670"/>
                  <a:pt x="9948" y="11799"/>
                </a:cubicBezTo>
                <a:cubicBezTo>
                  <a:pt x="9948" y="14505"/>
                  <a:pt x="10148" y="15477"/>
                  <a:pt x="10446" y="15477"/>
                </a:cubicBezTo>
                <a:cubicBezTo>
                  <a:pt x="10727" y="15477"/>
                  <a:pt x="10928" y="14452"/>
                  <a:pt x="11068" y="12823"/>
                </a:cubicBezTo>
                <a:cubicBezTo>
                  <a:pt x="11209" y="11167"/>
                  <a:pt x="11290" y="9013"/>
                  <a:pt x="11290" y="6884"/>
                </a:cubicBezTo>
                <a:cubicBezTo>
                  <a:pt x="11290" y="4178"/>
                  <a:pt x="11090" y="3206"/>
                  <a:pt x="10791" y="3206"/>
                </a:cubicBezTo>
                <a:cubicBezTo>
                  <a:pt x="10510" y="3206"/>
                  <a:pt x="10310" y="4231"/>
                  <a:pt x="10169" y="5860"/>
                </a:cubicBezTo>
                <a:moveTo>
                  <a:pt x="12308" y="341"/>
                </a:moveTo>
                <a:lnTo>
                  <a:pt x="12811" y="18315"/>
                </a:lnTo>
                <a:lnTo>
                  <a:pt x="13531" y="18315"/>
                </a:lnTo>
                <a:lnTo>
                  <a:pt x="15009" y="341"/>
                </a:lnTo>
                <a:lnTo>
                  <a:pt x="14328" y="341"/>
                </a:lnTo>
                <a:lnTo>
                  <a:pt x="13314" y="13585"/>
                </a:lnTo>
                <a:lnTo>
                  <a:pt x="12994" y="341"/>
                </a:lnTo>
                <a:lnTo>
                  <a:pt x="12308" y="341"/>
                </a:lnTo>
                <a:close/>
                <a:moveTo>
                  <a:pt x="15725" y="10747"/>
                </a:moveTo>
                <a:lnTo>
                  <a:pt x="16726" y="10747"/>
                </a:lnTo>
                <a:lnTo>
                  <a:pt x="16815" y="7673"/>
                </a:lnTo>
                <a:lnTo>
                  <a:pt x="15815" y="7673"/>
                </a:lnTo>
                <a:lnTo>
                  <a:pt x="15938" y="3311"/>
                </a:lnTo>
                <a:lnTo>
                  <a:pt x="17191" y="3311"/>
                </a:lnTo>
                <a:lnTo>
                  <a:pt x="17327" y="341"/>
                </a:lnTo>
                <a:lnTo>
                  <a:pt x="15359" y="341"/>
                </a:lnTo>
                <a:lnTo>
                  <a:pt x="14847" y="18315"/>
                </a:lnTo>
                <a:lnTo>
                  <a:pt x="16837" y="18315"/>
                </a:lnTo>
                <a:lnTo>
                  <a:pt x="16918" y="15346"/>
                </a:lnTo>
                <a:lnTo>
                  <a:pt x="15597" y="15346"/>
                </a:lnTo>
                <a:lnTo>
                  <a:pt x="15725" y="10747"/>
                </a:lnTo>
                <a:close/>
                <a:moveTo>
                  <a:pt x="19700" y="8803"/>
                </a:moveTo>
                <a:cubicBezTo>
                  <a:pt x="19589" y="9748"/>
                  <a:pt x="19410" y="10537"/>
                  <a:pt x="19176" y="11115"/>
                </a:cubicBezTo>
                <a:lnTo>
                  <a:pt x="19628" y="18315"/>
                </a:lnTo>
                <a:lnTo>
                  <a:pt x="18916" y="18315"/>
                </a:lnTo>
                <a:lnTo>
                  <a:pt x="18575" y="11799"/>
                </a:lnTo>
                <a:lnTo>
                  <a:pt x="18183" y="11799"/>
                </a:lnTo>
                <a:lnTo>
                  <a:pt x="18000" y="18315"/>
                </a:lnTo>
                <a:lnTo>
                  <a:pt x="17336" y="18315"/>
                </a:lnTo>
                <a:lnTo>
                  <a:pt x="17847" y="341"/>
                </a:lnTo>
                <a:lnTo>
                  <a:pt x="18839" y="341"/>
                </a:lnTo>
                <a:cubicBezTo>
                  <a:pt x="19201" y="341"/>
                  <a:pt x="19453" y="815"/>
                  <a:pt x="19611" y="1655"/>
                </a:cubicBezTo>
                <a:cubicBezTo>
                  <a:pt x="19785" y="2575"/>
                  <a:pt x="19858" y="3915"/>
                  <a:pt x="19858" y="5466"/>
                </a:cubicBezTo>
                <a:cubicBezTo>
                  <a:pt x="19858" y="6753"/>
                  <a:pt x="19806" y="7883"/>
                  <a:pt x="19700" y="8803"/>
                </a:cubicBezTo>
                <a:moveTo>
                  <a:pt x="18268" y="8830"/>
                </a:moveTo>
                <a:lnTo>
                  <a:pt x="18524" y="8830"/>
                </a:lnTo>
                <a:cubicBezTo>
                  <a:pt x="18729" y="8830"/>
                  <a:pt x="18912" y="8592"/>
                  <a:pt x="19035" y="7883"/>
                </a:cubicBezTo>
                <a:cubicBezTo>
                  <a:pt x="19133" y="7331"/>
                  <a:pt x="19197" y="6437"/>
                  <a:pt x="19197" y="5492"/>
                </a:cubicBezTo>
                <a:cubicBezTo>
                  <a:pt x="19197" y="4887"/>
                  <a:pt x="19172" y="4336"/>
                  <a:pt x="19112" y="3968"/>
                </a:cubicBezTo>
                <a:cubicBezTo>
                  <a:pt x="19044" y="3548"/>
                  <a:pt x="18937" y="3311"/>
                  <a:pt x="18758" y="3311"/>
                </a:cubicBezTo>
                <a:lnTo>
                  <a:pt x="18426" y="3311"/>
                </a:lnTo>
                <a:lnTo>
                  <a:pt x="18268" y="8830"/>
                </a:lnTo>
                <a:close/>
                <a:moveTo>
                  <a:pt x="21523" y="21600"/>
                </a:moveTo>
                <a:lnTo>
                  <a:pt x="21600" y="19051"/>
                </a:lnTo>
                <a:lnTo>
                  <a:pt x="19772" y="19051"/>
                </a:lnTo>
                <a:lnTo>
                  <a:pt x="19696" y="21600"/>
                </a:lnTo>
                <a:lnTo>
                  <a:pt x="21523" y="21600"/>
                </a:lnTo>
                <a:close/>
                <a:moveTo>
                  <a:pt x="21523" y="21600"/>
                </a:moveTo>
              </a:path>
            </a:pathLst>
          </a:custGeom>
          <a:solidFill>
            <a:srgbClr val="003245">
              <a:alpha val="25000"/>
            </a:srgbClr>
          </a:solidFill>
          <a:ln>
            <a:noFill/>
          </a:ln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21" name="AutoShape 1"/>
          <p:cNvSpPr>
            <a:spLocks noChangeAspect="1"/>
          </p:cNvSpPr>
          <p:nvPr userDrawn="1"/>
        </p:nvSpPr>
        <p:spPr bwMode="auto">
          <a:xfrm>
            <a:off x="6184752" y="476254"/>
            <a:ext cx="2701308" cy="423427"/>
          </a:xfrm>
          <a:custGeom>
            <a:avLst/>
            <a:gdLst>
              <a:gd name="T0" fmla="*/ 2458 w 21600"/>
              <a:gd name="T1" fmla="*/ 2391 h 21600"/>
              <a:gd name="T2" fmla="*/ 2237 w 21600"/>
              <a:gd name="T3" fmla="*/ 15634 h 21600"/>
              <a:gd name="T4" fmla="*/ 0 w 21600"/>
              <a:gd name="T5" fmla="*/ 18315 h 21600"/>
              <a:gd name="T6" fmla="*/ 1376 w 21600"/>
              <a:gd name="T7" fmla="*/ 341 h 21600"/>
              <a:gd name="T8" fmla="*/ 971 w 21600"/>
              <a:gd name="T9" fmla="*/ 15319 h 21600"/>
              <a:gd name="T10" fmla="*/ 2028 w 21600"/>
              <a:gd name="T11" fmla="*/ 7436 h 21600"/>
              <a:gd name="T12" fmla="*/ 1359 w 21600"/>
              <a:gd name="T13" fmla="*/ 3337 h 21600"/>
              <a:gd name="T14" fmla="*/ 750 w 21600"/>
              <a:gd name="T15" fmla="*/ 15319 h 21600"/>
              <a:gd name="T16" fmla="*/ 3591 w 21600"/>
              <a:gd name="T17" fmla="*/ 18315 h 21600"/>
              <a:gd name="T18" fmla="*/ 3438 w 21600"/>
              <a:gd name="T19" fmla="*/ 341 h 21600"/>
              <a:gd name="T20" fmla="*/ 5406 w 21600"/>
              <a:gd name="T21" fmla="*/ 11010 h 21600"/>
              <a:gd name="T22" fmla="*/ 5176 w 21600"/>
              <a:gd name="T23" fmla="*/ 15529 h 21600"/>
              <a:gd name="T24" fmla="*/ 4196 w 21600"/>
              <a:gd name="T25" fmla="*/ 17606 h 21600"/>
              <a:gd name="T26" fmla="*/ 6088 w 21600"/>
              <a:gd name="T27" fmla="*/ 17185 h 21600"/>
              <a:gd name="T28" fmla="*/ 5832 w 21600"/>
              <a:gd name="T29" fmla="*/ 8014 h 21600"/>
              <a:gd name="T30" fmla="*/ 5151 w 21600"/>
              <a:gd name="T31" fmla="*/ 5071 h 21600"/>
              <a:gd name="T32" fmla="*/ 6373 w 21600"/>
              <a:gd name="T33" fmla="*/ 3836 h 21600"/>
              <a:gd name="T34" fmla="*/ 5700 w 21600"/>
              <a:gd name="T35" fmla="*/ 0 h 21600"/>
              <a:gd name="T36" fmla="*/ 4516 w 21600"/>
              <a:gd name="T37" fmla="*/ 5570 h 21600"/>
              <a:gd name="T38" fmla="*/ 5406 w 21600"/>
              <a:gd name="T39" fmla="*/ 11010 h 21600"/>
              <a:gd name="T40" fmla="*/ 8384 w 21600"/>
              <a:gd name="T41" fmla="*/ 0 h 21600"/>
              <a:gd name="T42" fmla="*/ 6787 w 21600"/>
              <a:gd name="T43" fmla="*/ 11562 h 21600"/>
              <a:gd name="T44" fmla="*/ 8708 w 21600"/>
              <a:gd name="T45" fmla="*/ 18131 h 21600"/>
              <a:gd name="T46" fmla="*/ 8137 w 21600"/>
              <a:gd name="T47" fmla="*/ 15504 h 21600"/>
              <a:gd name="T48" fmla="*/ 7473 w 21600"/>
              <a:gd name="T49" fmla="*/ 11324 h 21600"/>
              <a:gd name="T50" fmla="*/ 8431 w 21600"/>
              <a:gd name="T51" fmla="*/ 3179 h 21600"/>
              <a:gd name="T52" fmla="*/ 9194 w 21600"/>
              <a:gd name="T53" fmla="*/ 867 h 21600"/>
              <a:gd name="T54" fmla="*/ 9569 w 21600"/>
              <a:gd name="T55" fmla="*/ 4257 h 21600"/>
              <a:gd name="T56" fmla="*/ 11976 w 21600"/>
              <a:gd name="T57" fmla="*/ 6884 h 21600"/>
              <a:gd name="T58" fmla="*/ 10395 w 21600"/>
              <a:gd name="T59" fmla="*/ 18683 h 21600"/>
              <a:gd name="T60" fmla="*/ 10169 w 21600"/>
              <a:gd name="T61" fmla="*/ 5860 h 21600"/>
              <a:gd name="T62" fmla="*/ 10446 w 21600"/>
              <a:gd name="T63" fmla="*/ 15477 h 21600"/>
              <a:gd name="T64" fmla="*/ 11290 w 21600"/>
              <a:gd name="T65" fmla="*/ 6884 h 21600"/>
              <a:gd name="T66" fmla="*/ 10169 w 21600"/>
              <a:gd name="T67" fmla="*/ 5860 h 21600"/>
              <a:gd name="T68" fmla="*/ 12811 w 21600"/>
              <a:gd name="T69" fmla="*/ 18315 h 21600"/>
              <a:gd name="T70" fmla="*/ 15009 w 21600"/>
              <a:gd name="T71" fmla="*/ 341 h 21600"/>
              <a:gd name="T72" fmla="*/ 13314 w 21600"/>
              <a:gd name="T73" fmla="*/ 13585 h 21600"/>
              <a:gd name="T74" fmla="*/ 12308 w 21600"/>
              <a:gd name="T75" fmla="*/ 341 h 21600"/>
              <a:gd name="T76" fmla="*/ 16726 w 21600"/>
              <a:gd name="T77" fmla="*/ 10747 h 21600"/>
              <a:gd name="T78" fmla="*/ 15815 w 21600"/>
              <a:gd name="T79" fmla="*/ 7673 h 21600"/>
              <a:gd name="T80" fmla="*/ 17191 w 21600"/>
              <a:gd name="T81" fmla="*/ 3311 h 21600"/>
              <a:gd name="T82" fmla="*/ 15359 w 21600"/>
              <a:gd name="T83" fmla="*/ 341 h 21600"/>
              <a:gd name="T84" fmla="*/ 16837 w 21600"/>
              <a:gd name="T85" fmla="*/ 18315 h 21600"/>
              <a:gd name="T86" fmla="*/ 15597 w 21600"/>
              <a:gd name="T87" fmla="*/ 15346 h 21600"/>
              <a:gd name="T88" fmla="*/ 19700 w 21600"/>
              <a:gd name="T89" fmla="*/ 8803 h 21600"/>
              <a:gd name="T90" fmla="*/ 19628 w 21600"/>
              <a:gd name="T91" fmla="*/ 18315 h 21600"/>
              <a:gd name="T92" fmla="*/ 18575 w 21600"/>
              <a:gd name="T93" fmla="*/ 11799 h 21600"/>
              <a:gd name="T94" fmla="*/ 18000 w 21600"/>
              <a:gd name="T95" fmla="*/ 18315 h 21600"/>
              <a:gd name="T96" fmla="*/ 17847 w 21600"/>
              <a:gd name="T97" fmla="*/ 341 h 21600"/>
              <a:gd name="T98" fmla="*/ 19611 w 21600"/>
              <a:gd name="T99" fmla="*/ 1655 h 21600"/>
              <a:gd name="T100" fmla="*/ 19700 w 21600"/>
              <a:gd name="T101" fmla="*/ 8803 h 21600"/>
              <a:gd name="T102" fmla="*/ 18524 w 21600"/>
              <a:gd name="T103" fmla="*/ 8830 h 21600"/>
              <a:gd name="T104" fmla="*/ 19197 w 21600"/>
              <a:gd name="T105" fmla="*/ 5492 h 21600"/>
              <a:gd name="T106" fmla="*/ 18758 w 21600"/>
              <a:gd name="T107" fmla="*/ 3311 h 21600"/>
              <a:gd name="T108" fmla="*/ 18268 w 21600"/>
              <a:gd name="T109" fmla="*/ 8830 h 21600"/>
              <a:gd name="T110" fmla="*/ 21600 w 21600"/>
              <a:gd name="T111" fmla="*/ 19051 h 21600"/>
              <a:gd name="T112" fmla="*/ 19696 w 21600"/>
              <a:gd name="T113" fmla="*/ 21600 h 21600"/>
              <a:gd name="T114" fmla="*/ 21523 w 21600"/>
              <a:gd name="T11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1600" h="21600">
                <a:moveTo>
                  <a:pt x="1376" y="341"/>
                </a:moveTo>
                <a:cubicBezTo>
                  <a:pt x="1811" y="341"/>
                  <a:pt x="2215" y="815"/>
                  <a:pt x="2458" y="2391"/>
                </a:cubicBezTo>
                <a:cubicBezTo>
                  <a:pt x="2650" y="3626"/>
                  <a:pt x="2714" y="5334"/>
                  <a:pt x="2714" y="7357"/>
                </a:cubicBezTo>
                <a:cubicBezTo>
                  <a:pt x="2714" y="10564"/>
                  <a:pt x="2556" y="13612"/>
                  <a:pt x="2237" y="15634"/>
                </a:cubicBezTo>
                <a:cubicBezTo>
                  <a:pt x="1900" y="17764"/>
                  <a:pt x="1431" y="18315"/>
                  <a:pt x="903" y="18315"/>
                </a:cubicBezTo>
                <a:lnTo>
                  <a:pt x="0" y="18315"/>
                </a:lnTo>
                <a:lnTo>
                  <a:pt x="511" y="341"/>
                </a:lnTo>
                <a:lnTo>
                  <a:pt x="1376" y="341"/>
                </a:lnTo>
                <a:close/>
                <a:moveTo>
                  <a:pt x="750" y="15319"/>
                </a:moveTo>
                <a:lnTo>
                  <a:pt x="971" y="15319"/>
                </a:lnTo>
                <a:cubicBezTo>
                  <a:pt x="1333" y="15319"/>
                  <a:pt x="1572" y="14768"/>
                  <a:pt x="1760" y="13112"/>
                </a:cubicBezTo>
                <a:cubicBezTo>
                  <a:pt x="1913" y="11745"/>
                  <a:pt x="2028" y="9669"/>
                  <a:pt x="2028" y="7436"/>
                </a:cubicBezTo>
                <a:cubicBezTo>
                  <a:pt x="2028" y="6070"/>
                  <a:pt x="1985" y="5098"/>
                  <a:pt x="1887" y="4415"/>
                </a:cubicBezTo>
                <a:cubicBezTo>
                  <a:pt x="1785" y="3705"/>
                  <a:pt x="1623" y="3337"/>
                  <a:pt x="1359" y="3337"/>
                </a:cubicBezTo>
                <a:lnTo>
                  <a:pt x="1091" y="3337"/>
                </a:lnTo>
                <a:lnTo>
                  <a:pt x="750" y="15319"/>
                </a:lnTo>
                <a:close/>
                <a:moveTo>
                  <a:pt x="2927" y="18315"/>
                </a:moveTo>
                <a:lnTo>
                  <a:pt x="3591" y="18315"/>
                </a:lnTo>
                <a:lnTo>
                  <a:pt x="4103" y="341"/>
                </a:lnTo>
                <a:lnTo>
                  <a:pt x="3438" y="341"/>
                </a:lnTo>
                <a:lnTo>
                  <a:pt x="2927" y="18315"/>
                </a:lnTo>
                <a:close/>
                <a:moveTo>
                  <a:pt x="5406" y="11010"/>
                </a:moveTo>
                <a:cubicBezTo>
                  <a:pt x="5671" y="11667"/>
                  <a:pt x="5777" y="12298"/>
                  <a:pt x="5777" y="13296"/>
                </a:cubicBezTo>
                <a:cubicBezTo>
                  <a:pt x="5777" y="15083"/>
                  <a:pt x="5449" y="15529"/>
                  <a:pt x="5176" y="15529"/>
                </a:cubicBezTo>
                <a:cubicBezTo>
                  <a:pt x="4895" y="15529"/>
                  <a:pt x="4567" y="15109"/>
                  <a:pt x="4329" y="14558"/>
                </a:cubicBezTo>
                <a:lnTo>
                  <a:pt x="4196" y="17606"/>
                </a:lnTo>
                <a:cubicBezTo>
                  <a:pt x="4524" y="18341"/>
                  <a:pt x="4861" y="18682"/>
                  <a:pt x="5172" y="18682"/>
                </a:cubicBezTo>
                <a:cubicBezTo>
                  <a:pt x="5547" y="18682"/>
                  <a:pt x="5862" y="18183"/>
                  <a:pt x="6088" y="17185"/>
                </a:cubicBezTo>
                <a:cubicBezTo>
                  <a:pt x="6331" y="16108"/>
                  <a:pt x="6425" y="14557"/>
                  <a:pt x="6425" y="12876"/>
                </a:cubicBezTo>
                <a:cubicBezTo>
                  <a:pt x="6425" y="10563"/>
                  <a:pt x="6241" y="9039"/>
                  <a:pt x="5832" y="8014"/>
                </a:cubicBezTo>
                <a:lnTo>
                  <a:pt x="5581" y="7384"/>
                </a:lnTo>
                <a:cubicBezTo>
                  <a:pt x="5244" y="6542"/>
                  <a:pt x="5151" y="5859"/>
                  <a:pt x="5151" y="5071"/>
                </a:cubicBezTo>
                <a:cubicBezTo>
                  <a:pt x="5151" y="3731"/>
                  <a:pt x="5394" y="3153"/>
                  <a:pt x="5700" y="3153"/>
                </a:cubicBezTo>
                <a:cubicBezTo>
                  <a:pt x="5909" y="3153"/>
                  <a:pt x="6143" y="3415"/>
                  <a:pt x="6373" y="3836"/>
                </a:cubicBezTo>
                <a:lnTo>
                  <a:pt x="6540" y="946"/>
                </a:lnTo>
                <a:cubicBezTo>
                  <a:pt x="6250" y="341"/>
                  <a:pt x="5986" y="0"/>
                  <a:pt x="5700" y="0"/>
                </a:cubicBezTo>
                <a:cubicBezTo>
                  <a:pt x="5368" y="0"/>
                  <a:pt x="5074" y="473"/>
                  <a:pt x="4870" y="1340"/>
                </a:cubicBezTo>
                <a:cubicBezTo>
                  <a:pt x="4644" y="2285"/>
                  <a:pt x="4516" y="3758"/>
                  <a:pt x="4516" y="5570"/>
                </a:cubicBezTo>
                <a:cubicBezTo>
                  <a:pt x="4516" y="7830"/>
                  <a:pt x="4716" y="9276"/>
                  <a:pt x="5155" y="10379"/>
                </a:cubicBezTo>
                <a:lnTo>
                  <a:pt x="5406" y="11010"/>
                </a:lnTo>
                <a:close/>
                <a:moveTo>
                  <a:pt x="9194" y="867"/>
                </a:moveTo>
                <a:cubicBezTo>
                  <a:pt x="8947" y="368"/>
                  <a:pt x="8678" y="0"/>
                  <a:pt x="8384" y="0"/>
                </a:cubicBezTo>
                <a:cubicBezTo>
                  <a:pt x="7988" y="0"/>
                  <a:pt x="7601" y="605"/>
                  <a:pt x="7298" y="2602"/>
                </a:cubicBezTo>
                <a:cubicBezTo>
                  <a:pt x="6949" y="4914"/>
                  <a:pt x="6787" y="8592"/>
                  <a:pt x="6787" y="11562"/>
                </a:cubicBezTo>
                <a:cubicBezTo>
                  <a:pt x="6787" y="16423"/>
                  <a:pt x="7204" y="18683"/>
                  <a:pt x="7988" y="18683"/>
                </a:cubicBezTo>
                <a:cubicBezTo>
                  <a:pt x="8244" y="18683"/>
                  <a:pt x="8525" y="18446"/>
                  <a:pt x="8708" y="18131"/>
                </a:cubicBezTo>
                <a:lnTo>
                  <a:pt x="8725" y="15135"/>
                </a:lnTo>
                <a:cubicBezTo>
                  <a:pt x="8546" y="15346"/>
                  <a:pt x="8320" y="15504"/>
                  <a:pt x="8137" y="15504"/>
                </a:cubicBezTo>
                <a:cubicBezTo>
                  <a:pt x="7903" y="15504"/>
                  <a:pt x="7711" y="15240"/>
                  <a:pt x="7596" y="14294"/>
                </a:cubicBezTo>
                <a:cubicBezTo>
                  <a:pt x="7502" y="13532"/>
                  <a:pt x="7473" y="12429"/>
                  <a:pt x="7473" y="11324"/>
                </a:cubicBezTo>
                <a:cubicBezTo>
                  <a:pt x="7473" y="9224"/>
                  <a:pt x="7583" y="6884"/>
                  <a:pt x="7733" y="5440"/>
                </a:cubicBezTo>
                <a:cubicBezTo>
                  <a:pt x="7916" y="3652"/>
                  <a:pt x="8163" y="3179"/>
                  <a:pt x="8431" y="3179"/>
                </a:cubicBezTo>
                <a:cubicBezTo>
                  <a:pt x="8644" y="3179"/>
                  <a:pt x="8849" y="3469"/>
                  <a:pt x="9028" y="3784"/>
                </a:cubicBezTo>
                <a:lnTo>
                  <a:pt x="9194" y="867"/>
                </a:lnTo>
                <a:close/>
                <a:moveTo>
                  <a:pt x="9262" y="11799"/>
                </a:moveTo>
                <a:cubicBezTo>
                  <a:pt x="9262" y="9039"/>
                  <a:pt x="9373" y="6333"/>
                  <a:pt x="9569" y="4257"/>
                </a:cubicBezTo>
                <a:cubicBezTo>
                  <a:pt x="9833" y="1472"/>
                  <a:pt x="10255" y="0"/>
                  <a:pt x="10843" y="0"/>
                </a:cubicBezTo>
                <a:cubicBezTo>
                  <a:pt x="11516" y="0"/>
                  <a:pt x="11976" y="2181"/>
                  <a:pt x="11976" y="6884"/>
                </a:cubicBezTo>
                <a:cubicBezTo>
                  <a:pt x="11976" y="9644"/>
                  <a:pt x="11865" y="12350"/>
                  <a:pt x="11669" y="14426"/>
                </a:cubicBezTo>
                <a:cubicBezTo>
                  <a:pt x="11405" y="17211"/>
                  <a:pt x="10983" y="18683"/>
                  <a:pt x="10395" y="18683"/>
                </a:cubicBezTo>
                <a:cubicBezTo>
                  <a:pt x="9722" y="18683"/>
                  <a:pt x="9262" y="16502"/>
                  <a:pt x="9262" y="11799"/>
                </a:cubicBezTo>
                <a:moveTo>
                  <a:pt x="10169" y="5860"/>
                </a:moveTo>
                <a:cubicBezTo>
                  <a:pt x="10029" y="7516"/>
                  <a:pt x="9948" y="9670"/>
                  <a:pt x="9948" y="11799"/>
                </a:cubicBezTo>
                <a:cubicBezTo>
                  <a:pt x="9948" y="14505"/>
                  <a:pt x="10148" y="15477"/>
                  <a:pt x="10446" y="15477"/>
                </a:cubicBezTo>
                <a:cubicBezTo>
                  <a:pt x="10727" y="15477"/>
                  <a:pt x="10928" y="14452"/>
                  <a:pt x="11068" y="12823"/>
                </a:cubicBezTo>
                <a:cubicBezTo>
                  <a:pt x="11209" y="11167"/>
                  <a:pt x="11290" y="9013"/>
                  <a:pt x="11290" y="6884"/>
                </a:cubicBezTo>
                <a:cubicBezTo>
                  <a:pt x="11290" y="4178"/>
                  <a:pt x="11090" y="3206"/>
                  <a:pt x="10791" y="3206"/>
                </a:cubicBezTo>
                <a:cubicBezTo>
                  <a:pt x="10510" y="3206"/>
                  <a:pt x="10310" y="4231"/>
                  <a:pt x="10169" y="5860"/>
                </a:cubicBezTo>
                <a:moveTo>
                  <a:pt x="12308" y="341"/>
                </a:moveTo>
                <a:lnTo>
                  <a:pt x="12811" y="18315"/>
                </a:lnTo>
                <a:lnTo>
                  <a:pt x="13531" y="18315"/>
                </a:lnTo>
                <a:lnTo>
                  <a:pt x="15009" y="341"/>
                </a:lnTo>
                <a:lnTo>
                  <a:pt x="14328" y="341"/>
                </a:lnTo>
                <a:lnTo>
                  <a:pt x="13314" y="13585"/>
                </a:lnTo>
                <a:lnTo>
                  <a:pt x="12994" y="341"/>
                </a:lnTo>
                <a:lnTo>
                  <a:pt x="12308" y="341"/>
                </a:lnTo>
                <a:close/>
                <a:moveTo>
                  <a:pt x="15725" y="10747"/>
                </a:moveTo>
                <a:lnTo>
                  <a:pt x="16726" y="10747"/>
                </a:lnTo>
                <a:lnTo>
                  <a:pt x="16815" y="7673"/>
                </a:lnTo>
                <a:lnTo>
                  <a:pt x="15815" y="7673"/>
                </a:lnTo>
                <a:lnTo>
                  <a:pt x="15938" y="3311"/>
                </a:lnTo>
                <a:lnTo>
                  <a:pt x="17191" y="3311"/>
                </a:lnTo>
                <a:lnTo>
                  <a:pt x="17327" y="341"/>
                </a:lnTo>
                <a:lnTo>
                  <a:pt x="15359" y="341"/>
                </a:lnTo>
                <a:lnTo>
                  <a:pt x="14847" y="18315"/>
                </a:lnTo>
                <a:lnTo>
                  <a:pt x="16837" y="18315"/>
                </a:lnTo>
                <a:lnTo>
                  <a:pt x="16918" y="15346"/>
                </a:lnTo>
                <a:lnTo>
                  <a:pt x="15597" y="15346"/>
                </a:lnTo>
                <a:lnTo>
                  <a:pt x="15725" y="10747"/>
                </a:lnTo>
                <a:close/>
                <a:moveTo>
                  <a:pt x="19700" y="8803"/>
                </a:moveTo>
                <a:cubicBezTo>
                  <a:pt x="19589" y="9748"/>
                  <a:pt x="19410" y="10537"/>
                  <a:pt x="19176" y="11115"/>
                </a:cubicBezTo>
                <a:lnTo>
                  <a:pt x="19628" y="18315"/>
                </a:lnTo>
                <a:lnTo>
                  <a:pt x="18916" y="18315"/>
                </a:lnTo>
                <a:lnTo>
                  <a:pt x="18575" y="11799"/>
                </a:lnTo>
                <a:lnTo>
                  <a:pt x="18183" y="11799"/>
                </a:lnTo>
                <a:lnTo>
                  <a:pt x="18000" y="18315"/>
                </a:lnTo>
                <a:lnTo>
                  <a:pt x="17336" y="18315"/>
                </a:lnTo>
                <a:lnTo>
                  <a:pt x="17847" y="341"/>
                </a:lnTo>
                <a:lnTo>
                  <a:pt x="18839" y="341"/>
                </a:lnTo>
                <a:cubicBezTo>
                  <a:pt x="19201" y="341"/>
                  <a:pt x="19453" y="815"/>
                  <a:pt x="19611" y="1655"/>
                </a:cubicBezTo>
                <a:cubicBezTo>
                  <a:pt x="19785" y="2575"/>
                  <a:pt x="19858" y="3915"/>
                  <a:pt x="19858" y="5466"/>
                </a:cubicBezTo>
                <a:cubicBezTo>
                  <a:pt x="19858" y="6753"/>
                  <a:pt x="19806" y="7883"/>
                  <a:pt x="19700" y="8803"/>
                </a:cubicBezTo>
                <a:moveTo>
                  <a:pt x="18268" y="8830"/>
                </a:moveTo>
                <a:lnTo>
                  <a:pt x="18524" y="8830"/>
                </a:lnTo>
                <a:cubicBezTo>
                  <a:pt x="18729" y="8830"/>
                  <a:pt x="18912" y="8592"/>
                  <a:pt x="19035" y="7883"/>
                </a:cubicBezTo>
                <a:cubicBezTo>
                  <a:pt x="19133" y="7331"/>
                  <a:pt x="19197" y="6437"/>
                  <a:pt x="19197" y="5492"/>
                </a:cubicBezTo>
                <a:cubicBezTo>
                  <a:pt x="19197" y="4887"/>
                  <a:pt x="19172" y="4336"/>
                  <a:pt x="19112" y="3968"/>
                </a:cubicBezTo>
                <a:cubicBezTo>
                  <a:pt x="19044" y="3548"/>
                  <a:pt x="18937" y="3311"/>
                  <a:pt x="18758" y="3311"/>
                </a:cubicBezTo>
                <a:lnTo>
                  <a:pt x="18426" y="3311"/>
                </a:lnTo>
                <a:lnTo>
                  <a:pt x="18268" y="8830"/>
                </a:lnTo>
                <a:close/>
                <a:moveTo>
                  <a:pt x="21523" y="21600"/>
                </a:moveTo>
                <a:lnTo>
                  <a:pt x="21600" y="19051"/>
                </a:lnTo>
                <a:lnTo>
                  <a:pt x="19772" y="19051"/>
                </a:lnTo>
                <a:lnTo>
                  <a:pt x="19696" y="21600"/>
                </a:lnTo>
                <a:lnTo>
                  <a:pt x="21523" y="21600"/>
                </a:lnTo>
                <a:close/>
                <a:moveTo>
                  <a:pt x="21523" y="21600"/>
                </a:moveTo>
              </a:path>
            </a:pathLst>
          </a:custGeom>
          <a:solidFill>
            <a:srgbClr val="003245">
              <a:alpha val="60000"/>
            </a:srgbClr>
          </a:solidFill>
          <a:ln>
            <a:noFill/>
          </a:ln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grpSp>
        <p:nvGrpSpPr>
          <p:cNvPr id="22" name="Grupo 14"/>
          <p:cNvGrpSpPr/>
          <p:nvPr userDrawn="1"/>
        </p:nvGrpSpPr>
        <p:grpSpPr>
          <a:xfrm>
            <a:off x="58869" y="6464198"/>
            <a:ext cx="1957587" cy="347874"/>
            <a:chOff x="58864" y="6464175"/>
            <a:chExt cx="1957589" cy="347874"/>
          </a:xfrm>
        </p:grpSpPr>
        <p:grpSp>
          <p:nvGrpSpPr>
            <p:cNvPr id="23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25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003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662" kern="0">
                  <a:solidFill>
                    <a:sysClr val="windowText" lastClr="000000"/>
                  </a:solidFill>
                  <a:latin typeface="Trebuchet MS"/>
                  <a:cs typeface="Arial" panose="020B0604020202020204" pitchFamily="34" charset="0"/>
                </a:endParaRPr>
              </a:p>
            </p:txBody>
          </p:sp>
          <p:sp>
            <p:nvSpPr>
              <p:cNvPr id="26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662" kern="0">
                  <a:solidFill>
                    <a:sysClr val="windowText" lastClr="000000"/>
                  </a:solidFill>
                  <a:latin typeface="Trebuchet MS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4" name="22 CuadroTexto"/>
            <p:cNvSpPr txBox="1"/>
            <p:nvPr userDrawn="1"/>
          </p:nvSpPr>
          <p:spPr>
            <a:xfrm>
              <a:off x="58864" y="6577689"/>
              <a:ext cx="1957589" cy="2343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23" i="1" kern="0" dirty="0">
                  <a:solidFill>
                    <a:srgbClr val="4BACC6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  <p:sp>
        <p:nvSpPr>
          <p:cNvPr id="27" name="TextBox 26"/>
          <p:cNvSpPr txBox="1">
            <a:spLocks noChangeArrowheads="1"/>
          </p:cNvSpPr>
          <p:nvPr userDrawn="1"/>
        </p:nvSpPr>
        <p:spPr bwMode="gray">
          <a:xfrm>
            <a:off x="4297023" y="6535854"/>
            <a:ext cx="51117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84406" tIns="42203" rIns="84406" bIns="42203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000">
                <a:solidFill>
                  <a:srgbClr val="072534"/>
                </a:solidFill>
                <a:latin typeface="Trebuchet MS" pitchFamily="34" charset="0"/>
              </a:defRPr>
            </a:lvl1pPr>
          </a:lstStyle>
          <a:p>
            <a:pPr algn="ctr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5D33EE1-E5CA-4D6E-B095-AB5B5FA687D6}" type="slidenum">
              <a:rPr lang="en-GB" sz="923" kern="0" smtClean="0">
                <a:latin typeface="Trebuchet MS"/>
                <a:cs typeface="Arial" panose="020B0604020202020204" pitchFamily="34" charset="0"/>
              </a:rPr>
              <a:pPr algn="ctr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GB" sz="923" kern="0" dirty="0">
              <a:latin typeface="Trebuchet MS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4149677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ru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AutoShape 5"/>
          <p:cNvSpPr>
            <a:spLocks/>
          </p:cNvSpPr>
          <p:nvPr userDrawn="1"/>
        </p:nvSpPr>
        <p:spPr bwMode="auto">
          <a:xfrm>
            <a:off x="8028848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55" name="Rectangle 13"/>
          <p:cNvSpPr>
            <a:spLocks/>
          </p:cNvSpPr>
          <p:nvPr userDrawn="1"/>
        </p:nvSpPr>
        <p:spPr bwMode="auto">
          <a:xfrm rot="10800000">
            <a:off x="7164310" y="6332538"/>
            <a:ext cx="864577" cy="49211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56" name="Rectangle 12"/>
          <p:cNvSpPr>
            <a:spLocks/>
          </p:cNvSpPr>
          <p:nvPr userDrawn="1"/>
        </p:nvSpPr>
        <p:spPr bwMode="auto">
          <a:xfrm rot="10800000">
            <a:off x="8015698" y="6332538"/>
            <a:ext cx="1122485" cy="49211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57" name="Rectangle 14"/>
          <p:cNvSpPr>
            <a:spLocks/>
          </p:cNvSpPr>
          <p:nvPr userDrawn="1"/>
        </p:nvSpPr>
        <p:spPr bwMode="auto">
          <a:xfrm rot="10800000">
            <a:off x="6268916" y="6332538"/>
            <a:ext cx="895350" cy="49211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58" name="Rectangle 15"/>
          <p:cNvSpPr>
            <a:spLocks/>
          </p:cNvSpPr>
          <p:nvPr userDrawn="1"/>
        </p:nvSpPr>
        <p:spPr bwMode="auto">
          <a:xfrm rot="10800000">
            <a:off x="-5845" y="6332538"/>
            <a:ext cx="6274777" cy="49211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59" name="AutoShape 3"/>
          <p:cNvSpPr>
            <a:spLocks/>
          </p:cNvSpPr>
          <p:nvPr userDrawn="1"/>
        </p:nvSpPr>
        <p:spPr bwMode="auto">
          <a:xfrm>
            <a:off x="5521844" y="44451"/>
            <a:ext cx="3578225" cy="706537"/>
          </a:xfrm>
          <a:custGeom>
            <a:avLst/>
            <a:gdLst>
              <a:gd name="T0" fmla="*/ 2763 w 21600"/>
              <a:gd name="T1" fmla="*/ 2391 h 21600"/>
              <a:gd name="T2" fmla="*/ 2514 w 21600"/>
              <a:gd name="T3" fmla="*/ 15636 h 21600"/>
              <a:gd name="T4" fmla="*/ 0 w 21600"/>
              <a:gd name="T5" fmla="*/ 18316 h 21600"/>
              <a:gd name="T6" fmla="*/ 1547 w 21600"/>
              <a:gd name="T7" fmla="*/ 342 h 21600"/>
              <a:gd name="T8" fmla="*/ 1092 w 21600"/>
              <a:gd name="T9" fmla="*/ 15320 h 21600"/>
              <a:gd name="T10" fmla="*/ 2279 w 21600"/>
              <a:gd name="T11" fmla="*/ 7438 h 21600"/>
              <a:gd name="T12" fmla="*/ 1527 w 21600"/>
              <a:gd name="T13" fmla="*/ 3338 h 21600"/>
              <a:gd name="T14" fmla="*/ 843 w 21600"/>
              <a:gd name="T15" fmla="*/ 15320 h 21600"/>
              <a:gd name="T16" fmla="*/ 4037 w 21600"/>
              <a:gd name="T17" fmla="*/ 18316 h 21600"/>
              <a:gd name="T18" fmla="*/ 3864 w 21600"/>
              <a:gd name="T19" fmla="*/ 342 h 21600"/>
              <a:gd name="T20" fmla="*/ 6076 w 21600"/>
              <a:gd name="T21" fmla="*/ 11011 h 21600"/>
              <a:gd name="T22" fmla="*/ 5818 w 21600"/>
              <a:gd name="T23" fmla="*/ 15531 h 21600"/>
              <a:gd name="T24" fmla="*/ 4717 w 21600"/>
              <a:gd name="T25" fmla="*/ 17606 h 21600"/>
              <a:gd name="T26" fmla="*/ 6843 w 21600"/>
              <a:gd name="T27" fmla="*/ 17186 h 21600"/>
              <a:gd name="T28" fmla="*/ 6555 w 21600"/>
              <a:gd name="T29" fmla="*/ 8015 h 21600"/>
              <a:gd name="T30" fmla="*/ 5789 w 21600"/>
              <a:gd name="T31" fmla="*/ 5071 h 21600"/>
              <a:gd name="T32" fmla="*/ 7163 w 21600"/>
              <a:gd name="T33" fmla="*/ 3837 h 21600"/>
              <a:gd name="T34" fmla="*/ 6407 w 21600"/>
              <a:gd name="T35" fmla="*/ 0 h 21600"/>
              <a:gd name="T36" fmla="*/ 5076 w 21600"/>
              <a:gd name="T37" fmla="*/ 5571 h 21600"/>
              <a:gd name="T38" fmla="*/ 6076 w 21600"/>
              <a:gd name="T39" fmla="*/ 11011 h 21600"/>
              <a:gd name="T40" fmla="*/ 9668 w 21600"/>
              <a:gd name="T41" fmla="*/ 11116 h 21600"/>
              <a:gd name="T42" fmla="*/ 9375 w 21600"/>
              <a:gd name="T43" fmla="*/ 18316 h 21600"/>
              <a:gd name="T44" fmla="*/ 8552 w 21600"/>
              <a:gd name="T45" fmla="*/ 11799 h 21600"/>
              <a:gd name="T46" fmla="*/ 7599 w 21600"/>
              <a:gd name="T47" fmla="*/ 18316 h 21600"/>
              <a:gd name="T48" fmla="*/ 9289 w 21600"/>
              <a:gd name="T49" fmla="*/ 342 h 21600"/>
              <a:gd name="T50" fmla="*/ 10434 w 21600"/>
              <a:gd name="T51" fmla="*/ 5466 h 21600"/>
              <a:gd name="T52" fmla="*/ 8648 w 21600"/>
              <a:gd name="T53" fmla="*/ 8830 h 21600"/>
              <a:gd name="T54" fmla="*/ 9510 w 21600"/>
              <a:gd name="T55" fmla="*/ 7884 h 21600"/>
              <a:gd name="T56" fmla="*/ 9596 w 21600"/>
              <a:gd name="T57" fmla="*/ 3969 h 21600"/>
              <a:gd name="T58" fmla="*/ 8825 w 21600"/>
              <a:gd name="T59" fmla="*/ 3312 h 21600"/>
              <a:gd name="T60" fmla="*/ 12885 w 21600"/>
              <a:gd name="T61" fmla="*/ 11169 h 21600"/>
              <a:gd name="T62" fmla="*/ 12134 w 21600"/>
              <a:gd name="T63" fmla="*/ 15557 h 21600"/>
              <a:gd name="T64" fmla="*/ 11588 w 21600"/>
              <a:gd name="T65" fmla="*/ 12640 h 21600"/>
              <a:gd name="T66" fmla="*/ 11961 w 21600"/>
              <a:gd name="T67" fmla="*/ 342 h 21600"/>
              <a:gd name="T68" fmla="*/ 10922 w 21600"/>
              <a:gd name="T69" fmla="*/ 9855 h 21600"/>
              <a:gd name="T70" fmla="*/ 11190 w 21600"/>
              <a:gd name="T71" fmla="*/ 17108 h 21600"/>
              <a:gd name="T72" fmla="*/ 13077 w 21600"/>
              <a:gd name="T73" fmla="*/ 17029 h 21600"/>
              <a:gd name="T74" fmla="*/ 13900 w 21600"/>
              <a:gd name="T75" fmla="*/ 343 h 21600"/>
              <a:gd name="T76" fmla="*/ 12885 w 21600"/>
              <a:gd name="T77" fmla="*/ 11169 h 21600"/>
              <a:gd name="T78" fmla="*/ 14025 w 21600"/>
              <a:gd name="T79" fmla="*/ 18316 h 21600"/>
              <a:gd name="T80" fmla="*/ 15644 w 21600"/>
              <a:gd name="T81" fmla="*/ 343 h 21600"/>
              <a:gd name="T82" fmla="*/ 16855 w 21600"/>
              <a:gd name="T83" fmla="*/ 5518 h 21600"/>
              <a:gd name="T84" fmla="*/ 15352 w 21600"/>
              <a:gd name="T85" fmla="*/ 12115 h 21600"/>
              <a:gd name="T86" fmla="*/ 14772 w 21600"/>
              <a:gd name="T87" fmla="*/ 18316 h 21600"/>
              <a:gd name="T88" fmla="*/ 15371 w 21600"/>
              <a:gd name="T89" fmla="*/ 9039 h 21600"/>
              <a:gd name="T90" fmla="*/ 16113 w 21600"/>
              <a:gd name="T91" fmla="*/ 5676 h 21600"/>
              <a:gd name="T92" fmla="*/ 15576 w 21600"/>
              <a:gd name="T93" fmla="*/ 3312 h 21600"/>
              <a:gd name="T94" fmla="*/ 15069 w 21600"/>
              <a:gd name="T95" fmla="*/ 9039 h 21600"/>
              <a:gd name="T96" fmla="*/ 17717 w 21600"/>
              <a:gd name="T97" fmla="*/ 18316 h 21600"/>
              <a:gd name="T98" fmla="*/ 18943 w 21600"/>
              <a:gd name="T99" fmla="*/ 3312 h 21600"/>
              <a:gd name="T100" fmla="*/ 20087 w 21600"/>
              <a:gd name="T101" fmla="*/ 342 h 21600"/>
              <a:gd name="T102" fmla="*/ 17180 w 21600"/>
              <a:gd name="T103" fmla="*/ 3312 h 21600"/>
              <a:gd name="T104" fmla="*/ 21514 w 21600"/>
              <a:gd name="T105" fmla="*/ 21600 h 21600"/>
              <a:gd name="T106" fmla="*/ 19546 w 21600"/>
              <a:gd name="T107" fmla="*/ 19052 h 21600"/>
              <a:gd name="T108" fmla="*/ 21514 w 21600"/>
              <a:gd name="T109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1600" h="21600">
                <a:moveTo>
                  <a:pt x="1547" y="342"/>
                </a:moveTo>
                <a:cubicBezTo>
                  <a:pt x="2035" y="342"/>
                  <a:pt x="2490" y="815"/>
                  <a:pt x="2763" y="2391"/>
                </a:cubicBezTo>
                <a:cubicBezTo>
                  <a:pt x="2978" y="3627"/>
                  <a:pt x="3050" y="5335"/>
                  <a:pt x="3050" y="7358"/>
                </a:cubicBezTo>
                <a:cubicBezTo>
                  <a:pt x="3050" y="10564"/>
                  <a:pt x="2873" y="13612"/>
                  <a:pt x="2514" y="15636"/>
                </a:cubicBezTo>
                <a:cubicBezTo>
                  <a:pt x="2136" y="17763"/>
                  <a:pt x="1609" y="18316"/>
                  <a:pt x="1015" y="18316"/>
                </a:cubicBezTo>
                <a:lnTo>
                  <a:pt x="0" y="18316"/>
                </a:lnTo>
                <a:lnTo>
                  <a:pt x="575" y="342"/>
                </a:lnTo>
                <a:lnTo>
                  <a:pt x="1547" y="342"/>
                </a:lnTo>
                <a:close/>
                <a:moveTo>
                  <a:pt x="843" y="15320"/>
                </a:moveTo>
                <a:lnTo>
                  <a:pt x="1092" y="15320"/>
                </a:lnTo>
                <a:cubicBezTo>
                  <a:pt x="1499" y="15320"/>
                  <a:pt x="1767" y="14768"/>
                  <a:pt x="1977" y="13113"/>
                </a:cubicBezTo>
                <a:cubicBezTo>
                  <a:pt x="2150" y="11746"/>
                  <a:pt x="2279" y="9670"/>
                  <a:pt x="2279" y="7438"/>
                </a:cubicBezTo>
                <a:cubicBezTo>
                  <a:pt x="2279" y="6070"/>
                  <a:pt x="2231" y="5099"/>
                  <a:pt x="2121" y="4414"/>
                </a:cubicBezTo>
                <a:cubicBezTo>
                  <a:pt x="2006" y="3706"/>
                  <a:pt x="1824" y="3338"/>
                  <a:pt x="1527" y="3338"/>
                </a:cubicBezTo>
                <a:lnTo>
                  <a:pt x="1226" y="3338"/>
                </a:lnTo>
                <a:lnTo>
                  <a:pt x="843" y="15320"/>
                </a:lnTo>
                <a:close/>
                <a:moveTo>
                  <a:pt x="3290" y="18316"/>
                </a:moveTo>
                <a:lnTo>
                  <a:pt x="4037" y="18316"/>
                </a:lnTo>
                <a:lnTo>
                  <a:pt x="4611" y="342"/>
                </a:lnTo>
                <a:lnTo>
                  <a:pt x="3864" y="342"/>
                </a:lnTo>
                <a:lnTo>
                  <a:pt x="3290" y="18316"/>
                </a:lnTo>
                <a:close/>
                <a:moveTo>
                  <a:pt x="6076" y="11011"/>
                </a:moveTo>
                <a:cubicBezTo>
                  <a:pt x="6373" y="11668"/>
                  <a:pt x="6493" y="12298"/>
                  <a:pt x="6493" y="13296"/>
                </a:cubicBezTo>
                <a:cubicBezTo>
                  <a:pt x="6493" y="15084"/>
                  <a:pt x="6124" y="15531"/>
                  <a:pt x="5818" y="15531"/>
                </a:cubicBezTo>
                <a:cubicBezTo>
                  <a:pt x="5502" y="15531"/>
                  <a:pt x="5133" y="15110"/>
                  <a:pt x="4865" y="14558"/>
                </a:cubicBezTo>
                <a:lnTo>
                  <a:pt x="4717" y="17606"/>
                </a:lnTo>
                <a:cubicBezTo>
                  <a:pt x="5085" y="18342"/>
                  <a:pt x="5463" y="18684"/>
                  <a:pt x="5813" y="18684"/>
                </a:cubicBezTo>
                <a:cubicBezTo>
                  <a:pt x="6234" y="18684"/>
                  <a:pt x="6589" y="18185"/>
                  <a:pt x="6843" y="17186"/>
                </a:cubicBezTo>
                <a:cubicBezTo>
                  <a:pt x="7115" y="16109"/>
                  <a:pt x="7221" y="14558"/>
                  <a:pt x="7221" y="12877"/>
                </a:cubicBezTo>
                <a:cubicBezTo>
                  <a:pt x="7221" y="10564"/>
                  <a:pt x="7015" y="9039"/>
                  <a:pt x="6555" y="8015"/>
                </a:cubicBezTo>
                <a:lnTo>
                  <a:pt x="6273" y="7385"/>
                </a:lnTo>
                <a:cubicBezTo>
                  <a:pt x="5894" y="6543"/>
                  <a:pt x="5789" y="5861"/>
                  <a:pt x="5789" y="5071"/>
                </a:cubicBezTo>
                <a:cubicBezTo>
                  <a:pt x="5789" y="3732"/>
                  <a:pt x="6062" y="3154"/>
                  <a:pt x="6407" y="3154"/>
                </a:cubicBezTo>
                <a:cubicBezTo>
                  <a:pt x="6641" y="3154"/>
                  <a:pt x="6905" y="3417"/>
                  <a:pt x="7163" y="3837"/>
                </a:cubicBezTo>
                <a:lnTo>
                  <a:pt x="7350" y="946"/>
                </a:lnTo>
                <a:cubicBezTo>
                  <a:pt x="7024" y="342"/>
                  <a:pt x="6728" y="0"/>
                  <a:pt x="6407" y="0"/>
                </a:cubicBezTo>
                <a:cubicBezTo>
                  <a:pt x="6033" y="0"/>
                  <a:pt x="5703" y="474"/>
                  <a:pt x="5473" y="1340"/>
                </a:cubicBezTo>
                <a:cubicBezTo>
                  <a:pt x="5219" y="2286"/>
                  <a:pt x="5076" y="3759"/>
                  <a:pt x="5076" y="5571"/>
                </a:cubicBezTo>
                <a:cubicBezTo>
                  <a:pt x="5076" y="7832"/>
                  <a:pt x="5301" y="9276"/>
                  <a:pt x="5794" y="10380"/>
                </a:cubicBezTo>
                <a:lnTo>
                  <a:pt x="6076" y="11011"/>
                </a:lnTo>
                <a:close/>
                <a:moveTo>
                  <a:pt x="10257" y="8803"/>
                </a:moveTo>
                <a:cubicBezTo>
                  <a:pt x="10132" y="9749"/>
                  <a:pt x="9931" y="10538"/>
                  <a:pt x="9668" y="11116"/>
                </a:cubicBezTo>
                <a:lnTo>
                  <a:pt x="10175" y="18316"/>
                </a:lnTo>
                <a:lnTo>
                  <a:pt x="9375" y="18316"/>
                </a:lnTo>
                <a:lnTo>
                  <a:pt x="8993" y="11799"/>
                </a:lnTo>
                <a:lnTo>
                  <a:pt x="8552" y="11799"/>
                </a:lnTo>
                <a:lnTo>
                  <a:pt x="8346" y="18316"/>
                </a:lnTo>
                <a:lnTo>
                  <a:pt x="7599" y="18316"/>
                </a:lnTo>
                <a:lnTo>
                  <a:pt x="8174" y="342"/>
                </a:lnTo>
                <a:lnTo>
                  <a:pt x="9289" y="342"/>
                </a:lnTo>
                <a:cubicBezTo>
                  <a:pt x="9696" y="342"/>
                  <a:pt x="9979" y="816"/>
                  <a:pt x="10156" y="1656"/>
                </a:cubicBezTo>
                <a:cubicBezTo>
                  <a:pt x="10352" y="2576"/>
                  <a:pt x="10434" y="3917"/>
                  <a:pt x="10434" y="5466"/>
                </a:cubicBezTo>
                <a:cubicBezTo>
                  <a:pt x="10434" y="6753"/>
                  <a:pt x="10376" y="7884"/>
                  <a:pt x="10257" y="8803"/>
                </a:cubicBezTo>
                <a:moveTo>
                  <a:pt x="8648" y="8830"/>
                </a:moveTo>
                <a:lnTo>
                  <a:pt x="8935" y="8830"/>
                </a:lnTo>
                <a:cubicBezTo>
                  <a:pt x="9165" y="8830"/>
                  <a:pt x="9371" y="8593"/>
                  <a:pt x="9510" y="7884"/>
                </a:cubicBezTo>
                <a:cubicBezTo>
                  <a:pt x="9620" y="7333"/>
                  <a:pt x="9692" y="6439"/>
                  <a:pt x="9692" y="5493"/>
                </a:cubicBezTo>
                <a:cubicBezTo>
                  <a:pt x="9692" y="4889"/>
                  <a:pt x="9663" y="4336"/>
                  <a:pt x="9596" y="3969"/>
                </a:cubicBezTo>
                <a:cubicBezTo>
                  <a:pt x="9519" y="3549"/>
                  <a:pt x="9400" y="3312"/>
                  <a:pt x="9198" y="3312"/>
                </a:cubicBezTo>
                <a:lnTo>
                  <a:pt x="8825" y="3312"/>
                </a:lnTo>
                <a:lnTo>
                  <a:pt x="8648" y="8830"/>
                </a:lnTo>
                <a:close/>
                <a:moveTo>
                  <a:pt x="12885" y="11169"/>
                </a:moveTo>
                <a:cubicBezTo>
                  <a:pt x="12828" y="12929"/>
                  <a:pt x="12746" y="13874"/>
                  <a:pt x="12651" y="14453"/>
                </a:cubicBezTo>
                <a:cubicBezTo>
                  <a:pt x="12555" y="15031"/>
                  <a:pt x="12387" y="15557"/>
                  <a:pt x="12134" y="15557"/>
                </a:cubicBezTo>
                <a:cubicBezTo>
                  <a:pt x="11928" y="15557"/>
                  <a:pt x="11779" y="15215"/>
                  <a:pt x="11688" y="14558"/>
                </a:cubicBezTo>
                <a:cubicBezTo>
                  <a:pt x="11612" y="14007"/>
                  <a:pt x="11588" y="13323"/>
                  <a:pt x="11588" y="12640"/>
                </a:cubicBezTo>
                <a:cubicBezTo>
                  <a:pt x="11588" y="12088"/>
                  <a:pt x="11602" y="11536"/>
                  <a:pt x="11621" y="10906"/>
                </a:cubicBezTo>
                <a:lnTo>
                  <a:pt x="11961" y="342"/>
                </a:lnTo>
                <a:lnTo>
                  <a:pt x="11229" y="342"/>
                </a:lnTo>
                <a:lnTo>
                  <a:pt x="10922" y="9855"/>
                </a:lnTo>
                <a:cubicBezTo>
                  <a:pt x="10884" y="11064"/>
                  <a:pt x="10865" y="12035"/>
                  <a:pt x="10865" y="12798"/>
                </a:cubicBezTo>
                <a:cubicBezTo>
                  <a:pt x="10865" y="14558"/>
                  <a:pt x="10970" y="16057"/>
                  <a:pt x="11190" y="17108"/>
                </a:cubicBezTo>
                <a:cubicBezTo>
                  <a:pt x="11415" y="18185"/>
                  <a:pt x="11741" y="18684"/>
                  <a:pt x="12114" y="18684"/>
                </a:cubicBezTo>
                <a:cubicBezTo>
                  <a:pt x="12454" y="18684"/>
                  <a:pt x="12809" y="18263"/>
                  <a:pt x="13077" y="17029"/>
                </a:cubicBezTo>
                <a:cubicBezTo>
                  <a:pt x="13283" y="16083"/>
                  <a:pt x="13441" y="14664"/>
                  <a:pt x="13513" y="12404"/>
                </a:cubicBezTo>
                <a:lnTo>
                  <a:pt x="13900" y="343"/>
                </a:lnTo>
                <a:lnTo>
                  <a:pt x="13230" y="343"/>
                </a:lnTo>
                <a:lnTo>
                  <a:pt x="12885" y="11169"/>
                </a:lnTo>
                <a:close/>
                <a:moveTo>
                  <a:pt x="14772" y="18316"/>
                </a:moveTo>
                <a:lnTo>
                  <a:pt x="14025" y="18316"/>
                </a:lnTo>
                <a:lnTo>
                  <a:pt x="14600" y="343"/>
                </a:lnTo>
                <a:lnTo>
                  <a:pt x="15644" y="343"/>
                </a:lnTo>
                <a:cubicBezTo>
                  <a:pt x="16084" y="343"/>
                  <a:pt x="16400" y="921"/>
                  <a:pt x="16587" y="1814"/>
                </a:cubicBezTo>
                <a:cubicBezTo>
                  <a:pt x="16735" y="2523"/>
                  <a:pt x="16855" y="3679"/>
                  <a:pt x="16855" y="5518"/>
                </a:cubicBezTo>
                <a:cubicBezTo>
                  <a:pt x="16855" y="7438"/>
                  <a:pt x="16721" y="9066"/>
                  <a:pt x="16524" y="10117"/>
                </a:cubicBezTo>
                <a:cubicBezTo>
                  <a:pt x="16261" y="11536"/>
                  <a:pt x="15859" y="12115"/>
                  <a:pt x="15352" y="12115"/>
                </a:cubicBezTo>
                <a:lnTo>
                  <a:pt x="14968" y="12115"/>
                </a:lnTo>
                <a:lnTo>
                  <a:pt x="14772" y="18316"/>
                </a:lnTo>
                <a:close/>
                <a:moveTo>
                  <a:pt x="15069" y="9039"/>
                </a:moveTo>
                <a:lnTo>
                  <a:pt x="15371" y="9039"/>
                </a:lnTo>
                <a:cubicBezTo>
                  <a:pt x="15581" y="9039"/>
                  <a:pt x="15759" y="8856"/>
                  <a:pt x="15897" y="8279"/>
                </a:cubicBezTo>
                <a:cubicBezTo>
                  <a:pt x="16046" y="7647"/>
                  <a:pt x="16113" y="6675"/>
                  <a:pt x="16113" y="5676"/>
                </a:cubicBezTo>
                <a:cubicBezTo>
                  <a:pt x="16113" y="4967"/>
                  <a:pt x="16079" y="4468"/>
                  <a:pt x="16027" y="4126"/>
                </a:cubicBezTo>
                <a:cubicBezTo>
                  <a:pt x="15955" y="3654"/>
                  <a:pt x="15821" y="3312"/>
                  <a:pt x="15576" y="3312"/>
                </a:cubicBezTo>
                <a:lnTo>
                  <a:pt x="15251" y="3312"/>
                </a:lnTo>
                <a:lnTo>
                  <a:pt x="15069" y="9039"/>
                </a:lnTo>
                <a:close/>
                <a:moveTo>
                  <a:pt x="18196" y="3312"/>
                </a:moveTo>
                <a:lnTo>
                  <a:pt x="17717" y="18316"/>
                </a:lnTo>
                <a:lnTo>
                  <a:pt x="18464" y="18316"/>
                </a:lnTo>
                <a:lnTo>
                  <a:pt x="18943" y="3312"/>
                </a:lnTo>
                <a:lnTo>
                  <a:pt x="19934" y="3312"/>
                </a:lnTo>
                <a:lnTo>
                  <a:pt x="20087" y="342"/>
                </a:lnTo>
                <a:lnTo>
                  <a:pt x="17276" y="342"/>
                </a:lnTo>
                <a:lnTo>
                  <a:pt x="17180" y="3312"/>
                </a:lnTo>
                <a:lnTo>
                  <a:pt x="18196" y="3312"/>
                </a:lnTo>
                <a:close/>
                <a:moveTo>
                  <a:pt x="21514" y="21600"/>
                </a:moveTo>
                <a:lnTo>
                  <a:pt x="21600" y="19052"/>
                </a:lnTo>
                <a:lnTo>
                  <a:pt x="19546" y="19052"/>
                </a:lnTo>
                <a:lnTo>
                  <a:pt x="19460" y="21600"/>
                </a:lnTo>
                <a:lnTo>
                  <a:pt x="21514" y="21600"/>
                </a:lnTo>
                <a:close/>
                <a:moveTo>
                  <a:pt x="21514" y="21600"/>
                </a:moveTo>
              </a:path>
            </a:pathLst>
          </a:custGeom>
          <a:solidFill>
            <a:srgbClr val="003245">
              <a:alpha val="25000"/>
            </a:srgbClr>
          </a:solidFill>
          <a:ln>
            <a:noFill/>
          </a:ln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60" name="AutoShape 3"/>
          <p:cNvSpPr>
            <a:spLocks noChangeAspect="1"/>
          </p:cNvSpPr>
          <p:nvPr userDrawn="1"/>
        </p:nvSpPr>
        <p:spPr bwMode="auto">
          <a:xfrm>
            <a:off x="6481013" y="476254"/>
            <a:ext cx="2405046" cy="423427"/>
          </a:xfrm>
          <a:custGeom>
            <a:avLst/>
            <a:gdLst>
              <a:gd name="T0" fmla="*/ 2763 w 21600"/>
              <a:gd name="T1" fmla="*/ 2391 h 21600"/>
              <a:gd name="T2" fmla="*/ 2514 w 21600"/>
              <a:gd name="T3" fmla="*/ 15636 h 21600"/>
              <a:gd name="T4" fmla="*/ 0 w 21600"/>
              <a:gd name="T5" fmla="*/ 18316 h 21600"/>
              <a:gd name="T6" fmla="*/ 1547 w 21600"/>
              <a:gd name="T7" fmla="*/ 342 h 21600"/>
              <a:gd name="T8" fmla="*/ 1092 w 21600"/>
              <a:gd name="T9" fmla="*/ 15320 h 21600"/>
              <a:gd name="T10" fmla="*/ 2279 w 21600"/>
              <a:gd name="T11" fmla="*/ 7438 h 21600"/>
              <a:gd name="T12" fmla="*/ 1527 w 21600"/>
              <a:gd name="T13" fmla="*/ 3338 h 21600"/>
              <a:gd name="T14" fmla="*/ 843 w 21600"/>
              <a:gd name="T15" fmla="*/ 15320 h 21600"/>
              <a:gd name="T16" fmla="*/ 4037 w 21600"/>
              <a:gd name="T17" fmla="*/ 18316 h 21600"/>
              <a:gd name="T18" fmla="*/ 3864 w 21600"/>
              <a:gd name="T19" fmla="*/ 342 h 21600"/>
              <a:gd name="T20" fmla="*/ 6076 w 21600"/>
              <a:gd name="T21" fmla="*/ 11011 h 21600"/>
              <a:gd name="T22" fmla="*/ 5818 w 21600"/>
              <a:gd name="T23" fmla="*/ 15531 h 21600"/>
              <a:gd name="T24" fmla="*/ 4717 w 21600"/>
              <a:gd name="T25" fmla="*/ 17606 h 21600"/>
              <a:gd name="T26" fmla="*/ 6843 w 21600"/>
              <a:gd name="T27" fmla="*/ 17186 h 21600"/>
              <a:gd name="T28" fmla="*/ 6555 w 21600"/>
              <a:gd name="T29" fmla="*/ 8015 h 21600"/>
              <a:gd name="T30" fmla="*/ 5789 w 21600"/>
              <a:gd name="T31" fmla="*/ 5071 h 21600"/>
              <a:gd name="T32" fmla="*/ 7163 w 21600"/>
              <a:gd name="T33" fmla="*/ 3837 h 21600"/>
              <a:gd name="T34" fmla="*/ 6407 w 21600"/>
              <a:gd name="T35" fmla="*/ 0 h 21600"/>
              <a:gd name="T36" fmla="*/ 5076 w 21600"/>
              <a:gd name="T37" fmla="*/ 5571 h 21600"/>
              <a:gd name="T38" fmla="*/ 6076 w 21600"/>
              <a:gd name="T39" fmla="*/ 11011 h 21600"/>
              <a:gd name="T40" fmla="*/ 9668 w 21600"/>
              <a:gd name="T41" fmla="*/ 11116 h 21600"/>
              <a:gd name="T42" fmla="*/ 9375 w 21600"/>
              <a:gd name="T43" fmla="*/ 18316 h 21600"/>
              <a:gd name="T44" fmla="*/ 8552 w 21600"/>
              <a:gd name="T45" fmla="*/ 11799 h 21600"/>
              <a:gd name="T46" fmla="*/ 7599 w 21600"/>
              <a:gd name="T47" fmla="*/ 18316 h 21600"/>
              <a:gd name="T48" fmla="*/ 9289 w 21600"/>
              <a:gd name="T49" fmla="*/ 342 h 21600"/>
              <a:gd name="T50" fmla="*/ 10434 w 21600"/>
              <a:gd name="T51" fmla="*/ 5466 h 21600"/>
              <a:gd name="T52" fmla="*/ 8648 w 21600"/>
              <a:gd name="T53" fmla="*/ 8830 h 21600"/>
              <a:gd name="T54" fmla="*/ 9510 w 21600"/>
              <a:gd name="T55" fmla="*/ 7884 h 21600"/>
              <a:gd name="T56" fmla="*/ 9596 w 21600"/>
              <a:gd name="T57" fmla="*/ 3969 h 21600"/>
              <a:gd name="T58" fmla="*/ 8825 w 21600"/>
              <a:gd name="T59" fmla="*/ 3312 h 21600"/>
              <a:gd name="T60" fmla="*/ 12885 w 21600"/>
              <a:gd name="T61" fmla="*/ 11169 h 21600"/>
              <a:gd name="T62" fmla="*/ 12134 w 21600"/>
              <a:gd name="T63" fmla="*/ 15557 h 21600"/>
              <a:gd name="T64" fmla="*/ 11588 w 21600"/>
              <a:gd name="T65" fmla="*/ 12640 h 21600"/>
              <a:gd name="T66" fmla="*/ 11961 w 21600"/>
              <a:gd name="T67" fmla="*/ 342 h 21600"/>
              <a:gd name="T68" fmla="*/ 10922 w 21600"/>
              <a:gd name="T69" fmla="*/ 9855 h 21600"/>
              <a:gd name="T70" fmla="*/ 11190 w 21600"/>
              <a:gd name="T71" fmla="*/ 17108 h 21600"/>
              <a:gd name="T72" fmla="*/ 13077 w 21600"/>
              <a:gd name="T73" fmla="*/ 17029 h 21600"/>
              <a:gd name="T74" fmla="*/ 13900 w 21600"/>
              <a:gd name="T75" fmla="*/ 343 h 21600"/>
              <a:gd name="T76" fmla="*/ 12885 w 21600"/>
              <a:gd name="T77" fmla="*/ 11169 h 21600"/>
              <a:gd name="T78" fmla="*/ 14025 w 21600"/>
              <a:gd name="T79" fmla="*/ 18316 h 21600"/>
              <a:gd name="T80" fmla="*/ 15644 w 21600"/>
              <a:gd name="T81" fmla="*/ 343 h 21600"/>
              <a:gd name="T82" fmla="*/ 16855 w 21600"/>
              <a:gd name="T83" fmla="*/ 5518 h 21600"/>
              <a:gd name="T84" fmla="*/ 15352 w 21600"/>
              <a:gd name="T85" fmla="*/ 12115 h 21600"/>
              <a:gd name="T86" fmla="*/ 14772 w 21600"/>
              <a:gd name="T87" fmla="*/ 18316 h 21600"/>
              <a:gd name="T88" fmla="*/ 15371 w 21600"/>
              <a:gd name="T89" fmla="*/ 9039 h 21600"/>
              <a:gd name="T90" fmla="*/ 16113 w 21600"/>
              <a:gd name="T91" fmla="*/ 5676 h 21600"/>
              <a:gd name="T92" fmla="*/ 15576 w 21600"/>
              <a:gd name="T93" fmla="*/ 3312 h 21600"/>
              <a:gd name="T94" fmla="*/ 15069 w 21600"/>
              <a:gd name="T95" fmla="*/ 9039 h 21600"/>
              <a:gd name="T96" fmla="*/ 17717 w 21600"/>
              <a:gd name="T97" fmla="*/ 18316 h 21600"/>
              <a:gd name="T98" fmla="*/ 18943 w 21600"/>
              <a:gd name="T99" fmla="*/ 3312 h 21600"/>
              <a:gd name="T100" fmla="*/ 20087 w 21600"/>
              <a:gd name="T101" fmla="*/ 342 h 21600"/>
              <a:gd name="T102" fmla="*/ 17180 w 21600"/>
              <a:gd name="T103" fmla="*/ 3312 h 21600"/>
              <a:gd name="T104" fmla="*/ 21514 w 21600"/>
              <a:gd name="T105" fmla="*/ 21600 h 21600"/>
              <a:gd name="T106" fmla="*/ 19546 w 21600"/>
              <a:gd name="T107" fmla="*/ 19052 h 21600"/>
              <a:gd name="T108" fmla="*/ 21514 w 21600"/>
              <a:gd name="T109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1600" h="21600">
                <a:moveTo>
                  <a:pt x="1547" y="342"/>
                </a:moveTo>
                <a:cubicBezTo>
                  <a:pt x="2035" y="342"/>
                  <a:pt x="2490" y="815"/>
                  <a:pt x="2763" y="2391"/>
                </a:cubicBezTo>
                <a:cubicBezTo>
                  <a:pt x="2978" y="3627"/>
                  <a:pt x="3050" y="5335"/>
                  <a:pt x="3050" y="7358"/>
                </a:cubicBezTo>
                <a:cubicBezTo>
                  <a:pt x="3050" y="10564"/>
                  <a:pt x="2873" y="13612"/>
                  <a:pt x="2514" y="15636"/>
                </a:cubicBezTo>
                <a:cubicBezTo>
                  <a:pt x="2136" y="17763"/>
                  <a:pt x="1609" y="18316"/>
                  <a:pt x="1015" y="18316"/>
                </a:cubicBezTo>
                <a:lnTo>
                  <a:pt x="0" y="18316"/>
                </a:lnTo>
                <a:lnTo>
                  <a:pt x="575" y="342"/>
                </a:lnTo>
                <a:lnTo>
                  <a:pt x="1547" y="342"/>
                </a:lnTo>
                <a:close/>
                <a:moveTo>
                  <a:pt x="843" y="15320"/>
                </a:moveTo>
                <a:lnTo>
                  <a:pt x="1092" y="15320"/>
                </a:lnTo>
                <a:cubicBezTo>
                  <a:pt x="1499" y="15320"/>
                  <a:pt x="1767" y="14768"/>
                  <a:pt x="1977" y="13113"/>
                </a:cubicBezTo>
                <a:cubicBezTo>
                  <a:pt x="2150" y="11746"/>
                  <a:pt x="2279" y="9670"/>
                  <a:pt x="2279" y="7438"/>
                </a:cubicBezTo>
                <a:cubicBezTo>
                  <a:pt x="2279" y="6070"/>
                  <a:pt x="2231" y="5099"/>
                  <a:pt x="2121" y="4414"/>
                </a:cubicBezTo>
                <a:cubicBezTo>
                  <a:pt x="2006" y="3706"/>
                  <a:pt x="1824" y="3338"/>
                  <a:pt x="1527" y="3338"/>
                </a:cubicBezTo>
                <a:lnTo>
                  <a:pt x="1226" y="3338"/>
                </a:lnTo>
                <a:lnTo>
                  <a:pt x="843" y="15320"/>
                </a:lnTo>
                <a:close/>
                <a:moveTo>
                  <a:pt x="3290" y="18316"/>
                </a:moveTo>
                <a:lnTo>
                  <a:pt x="4037" y="18316"/>
                </a:lnTo>
                <a:lnTo>
                  <a:pt x="4611" y="342"/>
                </a:lnTo>
                <a:lnTo>
                  <a:pt x="3864" y="342"/>
                </a:lnTo>
                <a:lnTo>
                  <a:pt x="3290" y="18316"/>
                </a:lnTo>
                <a:close/>
                <a:moveTo>
                  <a:pt x="6076" y="11011"/>
                </a:moveTo>
                <a:cubicBezTo>
                  <a:pt x="6373" y="11668"/>
                  <a:pt x="6493" y="12298"/>
                  <a:pt x="6493" y="13296"/>
                </a:cubicBezTo>
                <a:cubicBezTo>
                  <a:pt x="6493" y="15084"/>
                  <a:pt x="6124" y="15531"/>
                  <a:pt x="5818" y="15531"/>
                </a:cubicBezTo>
                <a:cubicBezTo>
                  <a:pt x="5502" y="15531"/>
                  <a:pt x="5133" y="15110"/>
                  <a:pt x="4865" y="14558"/>
                </a:cubicBezTo>
                <a:lnTo>
                  <a:pt x="4717" y="17606"/>
                </a:lnTo>
                <a:cubicBezTo>
                  <a:pt x="5085" y="18342"/>
                  <a:pt x="5463" y="18684"/>
                  <a:pt x="5813" y="18684"/>
                </a:cubicBezTo>
                <a:cubicBezTo>
                  <a:pt x="6234" y="18684"/>
                  <a:pt x="6589" y="18185"/>
                  <a:pt x="6843" y="17186"/>
                </a:cubicBezTo>
                <a:cubicBezTo>
                  <a:pt x="7115" y="16109"/>
                  <a:pt x="7221" y="14558"/>
                  <a:pt x="7221" y="12877"/>
                </a:cubicBezTo>
                <a:cubicBezTo>
                  <a:pt x="7221" y="10564"/>
                  <a:pt x="7015" y="9039"/>
                  <a:pt x="6555" y="8015"/>
                </a:cubicBezTo>
                <a:lnTo>
                  <a:pt x="6273" y="7385"/>
                </a:lnTo>
                <a:cubicBezTo>
                  <a:pt x="5894" y="6543"/>
                  <a:pt x="5789" y="5861"/>
                  <a:pt x="5789" y="5071"/>
                </a:cubicBezTo>
                <a:cubicBezTo>
                  <a:pt x="5789" y="3732"/>
                  <a:pt x="6062" y="3154"/>
                  <a:pt x="6407" y="3154"/>
                </a:cubicBezTo>
                <a:cubicBezTo>
                  <a:pt x="6641" y="3154"/>
                  <a:pt x="6905" y="3417"/>
                  <a:pt x="7163" y="3837"/>
                </a:cubicBezTo>
                <a:lnTo>
                  <a:pt x="7350" y="946"/>
                </a:lnTo>
                <a:cubicBezTo>
                  <a:pt x="7024" y="342"/>
                  <a:pt x="6728" y="0"/>
                  <a:pt x="6407" y="0"/>
                </a:cubicBezTo>
                <a:cubicBezTo>
                  <a:pt x="6033" y="0"/>
                  <a:pt x="5703" y="474"/>
                  <a:pt x="5473" y="1340"/>
                </a:cubicBezTo>
                <a:cubicBezTo>
                  <a:pt x="5219" y="2286"/>
                  <a:pt x="5076" y="3759"/>
                  <a:pt x="5076" y="5571"/>
                </a:cubicBezTo>
                <a:cubicBezTo>
                  <a:pt x="5076" y="7832"/>
                  <a:pt x="5301" y="9276"/>
                  <a:pt x="5794" y="10380"/>
                </a:cubicBezTo>
                <a:lnTo>
                  <a:pt x="6076" y="11011"/>
                </a:lnTo>
                <a:close/>
                <a:moveTo>
                  <a:pt x="10257" y="8803"/>
                </a:moveTo>
                <a:cubicBezTo>
                  <a:pt x="10132" y="9749"/>
                  <a:pt x="9931" y="10538"/>
                  <a:pt x="9668" y="11116"/>
                </a:cubicBezTo>
                <a:lnTo>
                  <a:pt x="10175" y="18316"/>
                </a:lnTo>
                <a:lnTo>
                  <a:pt x="9375" y="18316"/>
                </a:lnTo>
                <a:lnTo>
                  <a:pt x="8993" y="11799"/>
                </a:lnTo>
                <a:lnTo>
                  <a:pt x="8552" y="11799"/>
                </a:lnTo>
                <a:lnTo>
                  <a:pt x="8346" y="18316"/>
                </a:lnTo>
                <a:lnTo>
                  <a:pt x="7599" y="18316"/>
                </a:lnTo>
                <a:lnTo>
                  <a:pt x="8174" y="342"/>
                </a:lnTo>
                <a:lnTo>
                  <a:pt x="9289" y="342"/>
                </a:lnTo>
                <a:cubicBezTo>
                  <a:pt x="9696" y="342"/>
                  <a:pt x="9979" y="816"/>
                  <a:pt x="10156" y="1656"/>
                </a:cubicBezTo>
                <a:cubicBezTo>
                  <a:pt x="10352" y="2576"/>
                  <a:pt x="10434" y="3917"/>
                  <a:pt x="10434" y="5466"/>
                </a:cubicBezTo>
                <a:cubicBezTo>
                  <a:pt x="10434" y="6753"/>
                  <a:pt x="10376" y="7884"/>
                  <a:pt x="10257" y="8803"/>
                </a:cubicBezTo>
                <a:moveTo>
                  <a:pt x="8648" y="8830"/>
                </a:moveTo>
                <a:lnTo>
                  <a:pt x="8935" y="8830"/>
                </a:lnTo>
                <a:cubicBezTo>
                  <a:pt x="9165" y="8830"/>
                  <a:pt x="9371" y="8593"/>
                  <a:pt x="9510" y="7884"/>
                </a:cubicBezTo>
                <a:cubicBezTo>
                  <a:pt x="9620" y="7333"/>
                  <a:pt x="9692" y="6439"/>
                  <a:pt x="9692" y="5493"/>
                </a:cubicBezTo>
                <a:cubicBezTo>
                  <a:pt x="9692" y="4889"/>
                  <a:pt x="9663" y="4336"/>
                  <a:pt x="9596" y="3969"/>
                </a:cubicBezTo>
                <a:cubicBezTo>
                  <a:pt x="9519" y="3549"/>
                  <a:pt x="9400" y="3312"/>
                  <a:pt x="9198" y="3312"/>
                </a:cubicBezTo>
                <a:lnTo>
                  <a:pt x="8825" y="3312"/>
                </a:lnTo>
                <a:lnTo>
                  <a:pt x="8648" y="8830"/>
                </a:lnTo>
                <a:close/>
                <a:moveTo>
                  <a:pt x="12885" y="11169"/>
                </a:moveTo>
                <a:cubicBezTo>
                  <a:pt x="12828" y="12929"/>
                  <a:pt x="12746" y="13874"/>
                  <a:pt x="12651" y="14453"/>
                </a:cubicBezTo>
                <a:cubicBezTo>
                  <a:pt x="12555" y="15031"/>
                  <a:pt x="12387" y="15557"/>
                  <a:pt x="12134" y="15557"/>
                </a:cubicBezTo>
                <a:cubicBezTo>
                  <a:pt x="11928" y="15557"/>
                  <a:pt x="11779" y="15215"/>
                  <a:pt x="11688" y="14558"/>
                </a:cubicBezTo>
                <a:cubicBezTo>
                  <a:pt x="11612" y="14007"/>
                  <a:pt x="11588" y="13323"/>
                  <a:pt x="11588" y="12640"/>
                </a:cubicBezTo>
                <a:cubicBezTo>
                  <a:pt x="11588" y="12088"/>
                  <a:pt x="11602" y="11536"/>
                  <a:pt x="11621" y="10906"/>
                </a:cubicBezTo>
                <a:lnTo>
                  <a:pt x="11961" y="342"/>
                </a:lnTo>
                <a:lnTo>
                  <a:pt x="11229" y="342"/>
                </a:lnTo>
                <a:lnTo>
                  <a:pt x="10922" y="9855"/>
                </a:lnTo>
                <a:cubicBezTo>
                  <a:pt x="10884" y="11064"/>
                  <a:pt x="10865" y="12035"/>
                  <a:pt x="10865" y="12798"/>
                </a:cubicBezTo>
                <a:cubicBezTo>
                  <a:pt x="10865" y="14558"/>
                  <a:pt x="10970" y="16057"/>
                  <a:pt x="11190" y="17108"/>
                </a:cubicBezTo>
                <a:cubicBezTo>
                  <a:pt x="11415" y="18185"/>
                  <a:pt x="11741" y="18684"/>
                  <a:pt x="12114" y="18684"/>
                </a:cubicBezTo>
                <a:cubicBezTo>
                  <a:pt x="12454" y="18684"/>
                  <a:pt x="12809" y="18263"/>
                  <a:pt x="13077" y="17029"/>
                </a:cubicBezTo>
                <a:cubicBezTo>
                  <a:pt x="13283" y="16083"/>
                  <a:pt x="13441" y="14664"/>
                  <a:pt x="13513" y="12404"/>
                </a:cubicBezTo>
                <a:lnTo>
                  <a:pt x="13900" y="343"/>
                </a:lnTo>
                <a:lnTo>
                  <a:pt x="13230" y="343"/>
                </a:lnTo>
                <a:lnTo>
                  <a:pt x="12885" y="11169"/>
                </a:lnTo>
                <a:close/>
                <a:moveTo>
                  <a:pt x="14772" y="18316"/>
                </a:moveTo>
                <a:lnTo>
                  <a:pt x="14025" y="18316"/>
                </a:lnTo>
                <a:lnTo>
                  <a:pt x="14600" y="343"/>
                </a:lnTo>
                <a:lnTo>
                  <a:pt x="15644" y="343"/>
                </a:lnTo>
                <a:cubicBezTo>
                  <a:pt x="16084" y="343"/>
                  <a:pt x="16400" y="921"/>
                  <a:pt x="16587" y="1814"/>
                </a:cubicBezTo>
                <a:cubicBezTo>
                  <a:pt x="16735" y="2523"/>
                  <a:pt x="16855" y="3679"/>
                  <a:pt x="16855" y="5518"/>
                </a:cubicBezTo>
                <a:cubicBezTo>
                  <a:pt x="16855" y="7438"/>
                  <a:pt x="16721" y="9066"/>
                  <a:pt x="16524" y="10117"/>
                </a:cubicBezTo>
                <a:cubicBezTo>
                  <a:pt x="16261" y="11536"/>
                  <a:pt x="15859" y="12115"/>
                  <a:pt x="15352" y="12115"/>
                </a:cubicBezTo>
                <a:lnTo>
                  <a:pt x="14968" y="12115"/>
                </a:lnTo>
                <a:lnTo>
                  <a:pt x="14772" y="18316"/>
                </a:lnTo>
                <a:close/>
                <a:moveTo>
                  <a:pt x="15069" y="9039"/>
                </a:moveTo>
                <a:lnTo>
                  <a:pt x="15371" y="9039"/>
                </a:lnTo>
                <a:cubicBezTo>
                  <a:pt x="15581" y="9039"/>
                  <a:pt x="15759" y="8856"/>
                  <a:pt x="15897" y="8279"/>
                </a:cubicBezTo>
                <a:cubicBezTo>
                  <a:pt x="16046" y="7647"/>
                  <a:pt x="16113" y="6675"/>
                  <a:pt x="16113" y="5676"/>
                </a:cubicBezTo>
                <a:cubicBezTo>
                  <a:pt x="16113" y="4967"/>
                  <a:pt x="16079" y="4468"/>
                  <a:pt x="16027" y="4126"/>
                </a:cubicBezTo>
                <a:cubicBezTo>
                  <a:pt x="15955" y="3654"/>
                  <a:pt x="15821" y="3312"/>
                  <a:pt x="15576" y="3312"/>
                </a:cubicBezTo>
                <a:lnTo>
                  <a:pt x="15251" y="3312"/>
                </a:lnTo>
                <a:lnTo>
                  <a:pt x="15069" y="9039"/>
                </a:lnTo>
                <a:close/>
                <a:moveTo>
                  <a:pt x="18196" y="3312"/>
                </a:moveTo>
                <a:lnTo>
                  <a:pt x="17717" y="18316"/>
                </a:lnTo>
                <a:lnTo>
                  <a:pt x="18464" y="18316"/>
                </a:lnTo>
                <a:lnTo>
                  <a:pt x="18943" y="3312"/>
                </a:lnTo>
                <a:lnTo>
                  <a:pt x="19934" y="3312"/>
                </a:lnTo>
                <a:lnTo>
                  <a:pt x="20087" y="342"/>
                </a:lnTo>
                <a:lnTo>
                  <a:pt x="17276" y="342"/>
                </a:lnTo>
                <a:lnTo>
                  <a:pt x="17180" y="3312"/>
                </a:lnTo>
                <a:lnTo>
                  <a:pt x="18196" y="3312"/>
                </a:lnTo>
                <a:close/>
                <a:moveTo>
                  <a:pt x="21514" y="21600"/>
                </a:moveTo>
                <a:lnTo>
                  <a:pt x="21600" y="19052"/>
                </a:lnTo>
                <a:lnTo>
                  <a:pt x="19546" y="19052"/>
                </a:lnTo>
                <a:lnTo>
                  <a:pt x="19460" y="21600"/>
                </a:lnTo>
                <a:lnTo>
                  <a:pt x="21514" y="21600"/>
                </a:lnTo>
                <a:close/>
                <a:moveTo>
                  <a:pt x="21514" y="21600"/>
                </a:moveTo>
              </a:path>
            </a:pathLst>
          </a:custGeom>
          <a:solidFill>
            <a:srgbClr val="003245">
              <a:alpha val="60000"/>
            </a:srgbClr>
          </a:solidFill>
          <a:ln>
            <a:noFill/>
          </a:ln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grpSp>
        <p:nvGrpSpPr>
          <p:cNvPr id="61" name="Grupo 14"/>
          <p:cNvGrpSpPr/>
          <p:nvPr userDrawn="1"/>
        </p:nvGrpSpPr>
        <p:grpSpPr>
          <a:xfrm>
            <a:off x="58869" y="6464199"/>
            <a:ext cx="1957587" cy="347874"/>
            <a:chOff x="58864" y="6464175"/>
            <a:chExt cx="1957589" cy="347874"/>
          </a:xfrm>
        </p:grpSpPr>
        <p:grpSp>
          <p:nvGrpSpPr>
            <p:cNvPr id="62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64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003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662" kern="0">
                  <a:solidFill>
                    <a:sysClr val="windowText" lastClr="000000"/>
                  </a:solidFill>
                  <a:latin typeface="Trebuchet MS"/>
                  <a:cs typeface="Arial" panose="020B0604020202020204" pitchFamily="34" charset="0"/>
                </a:endParaRPr>
              </a:p>
            </p:txBody>
          </p:sp>
          <p:sp>
            <p:nvSpPr>
              <p:cNvPr id="65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662" kern="0">
                  <a:solidFill>
                    <a:sysClr val="windowText" lastClr="000000"/>
                  </a:solidFill>
                  <a:latin typeface="Trebuchet MS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63" name="22 CuadroTexto"/>
            <p:cNvSpPr txBox="1"/>
            <p:nvPr userDrawn="1"/>
          </p:nvSpPr>
          <p:spPr>
            <a:xfrm>
              <a:off x="58864" y="6577689"/>
              <a:ext cx="1957589" cy="2343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23" i="1" kern="0" dirty="0">
                  <a:solidFill>
                    <a:srgbClr val="4BACC6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  <p:sp>
        <p:nvSpPr>
          <p:cNvPr id="66" name="TextBox 65"/>
          <p:cNvSpPr txBox="1">
            <a:spLocks noChangeArrowheads="1"/>
          </p:cNvSpPr>
          <p:nvPr userDrawn="1"/>
        </p:nvSpPr>
        <p:spPr bwMode="gray">
          <a:xfrm>
            <a:off x="4297023" y="6535854"/>
            <a:ext cx="51117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84406" tIns="42203" rIns="84406" bIns="42203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000">
                <a:solidFill>
                  <a:srgbClr val="072534"/>
                </a:solidFill>
                <a:latin typeface="Trebuchet MS" pitchFamily="34" charset="0"/>
              </a:defRPr>
            </a:lvl1pPr>
          </a:lstStyle>
          <a:p>
            <a:pPr algn="ctr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5D33EE1-E5CA-4D6E-B095-AB5B5FA687D6}" type="slidenum">
              <a:rPr lang="en-GB" sz="923" kern="0" smtClean="0">
                <a:latin typeface="Trebuchet MS"/>
                <a:cs typeface="Arial" panose="020B0604020202020204" pitchFamily="34" charset="0"/>
              </a:rPr>
              <a:pPr algn="ctr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GB" sz="923" kern="0" dirty="0">
              <a:latin typeface="Trebuchet MS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440188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2"/>
            <a:ext cx="3008114" cy="1162051"/>
          </a:xfrm>
          <a:prstGeom prst="rect">
            <a:avLst/>
          </a:prstGeom>
        </p:spPr>
        <p:txBody>
          <a:bodyPr lIns="38405" tIns="19202" rIns="38405" bIns="19202" anchor="b"/>
          <a:lstStyle>
            <a:lvl1pPr algn="l">
              <a:defRPr sz="800" b="1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4852" y="273050"/>
            <a:ext cx="5111948" cy="5853113"/>
          </a:xfrm>
          <a:prstGeom prst="rect">
            <a:avLst/>
          </a:prstGeom>
        </p:spPr>
        <p:txBody>
          <a:bodyPr lIns="38405" tIns="19202" rIns="38405" bIns="19202"/>
          <a:lstStyle>
            <a:lvl1pPr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800"/>
            </a:lvl4pPr>
            <a:lvl5pPr>
              <a:defRPr sz="800"/>
            </a:lvl5pPr>
            <a:lvl6pPr>
              <a:defRPr sz="800"/>
            </a:lvl6pPr>
            <a:lvl7pPr>
              <a:defRPr sz="800"/>
            </a:lvl7pPr>
            <a:lvl8pPr>
              <a:defRPr sz="800"/>
            </a:lvl8pPr>
            <a:lvl9pPr>
              <a:defRPr sz="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114" cy="4691062"/>
          </a:xfrm>
          <a:prstGeom prst="rect">
            <a:avLst/>
          </a:prstGeom>
        </p:spPr>
        <p:txBody>
          <a:bodyPr lIns="38405" tIns="19202" rIns="38405" bIns="19202"/>
          <a:lstStyle>
            <a:lvl1pPr marL="0" indent="0">
              <a:buNone/>
              <a:defRPr sz="600"/>
            </a:lvl1pPr>
            <a:lvl2pPr marL="192024" indent="0">
              <a:buNone/>
              <a:defRPr sz="500"/>
            </a:lvl2pPr>
            <a:lvl3pPr marL="384048" indent="0">
              <a:buNone/>
              <a:defRPr sz="400"/>
            </a:lvl3pPr>
            <a:lvl4pPr marL="576072" indent="0">
              <a:buNone/>
              <a:defRPr sz="400"/>
            </a:lvl4pPr>
            <a:lvl5pPr marL="768096" indent="0">
              <a:buNone/>
              <a:defRPr sz="400"/>
            </a:lvl5pPr>
            <a:lvl6pPr marL="960120" indent="0">
              <a:buNone/>
              <a:defRPr sz="400"/>
            </a:lvl6pPr>
            <a:lvl7pPr marL="1152144" indent="0">
              <a:buNone/>
              <a:defRPr sz="400"/>
            </a:lvl7pPr>
            <a:lvl8pPr marL="1344168" indent="0">
              <a:buNone/>
              <a:defRPr sz="400"/>
            </a:lvl8pPr>
            <a:lvl9pPr marL="1536192" indent="0">
              <a:buNone/>
              <a:defRPr sz="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4402253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i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AutoShape 5"/>
          <p:cNvSpPr>
            <a:spLocks/>
          </p:cNvSpPr>
          <p:nvPr userDrawn="1"/>
        </p:nvSpPr>
        <p:spPr bwMode="auto">
          <a:xfrm>
            <a:off x="8028848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42" name="Rectangle 13"/>
          <p:cNvSpPr>
            <a:spLocks/>
          </p:cNvSpPr>
          <p:nvPr userDrawn="1"/>
        </p:nvSpPr>
        <p:spPr bwMode="auto">
          <a:xfrm rot="10800000">
            <a:off x="7164311" y="6332538"/>
            <a:ext cx="864577" cy="49211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43" name="Rectangle 12"/>
          <p:cNvSpPr>
            <a:spLocks/>
          </p:cNvSpPr>
          <p:nvPr userDrawn="1"/>
        </p:nvSpPr>
        <p:spPr bwMode="auto">
          <a:xfrm rot="10800000">
            <a:off x="8015699" y="6332538"/>
            <a:ext cx="1122485" cy="49211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44" name="Rectangle 14"/>
          <p:cNvSpPr>
            <a:spLocks/>
          </p:cNvSpPr>
          <p:nvPr userDrawn="1"/>
        </p:nvSpPr>
        <p:spPr bwMode="auto">
          <a:xfrm rot="10800000">
            <a:off x="6268916" y="6332538"/>
            <a:ext cx="895350" cy="49211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45" name="Rectangle 15"/>
          <p:cNvSpPr>
            <a:spLocks/>
          </p:cNvSpPr>
          <p:nvPr userDrawn="1"/>
        </p:nvSpPr>
        <p:spPr bwMode="auto">
          <a:xfrm rot="10800000">
            <a:off x="-5845" y="6332538"/>
            <a:ext cx="6274777" cy="49211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46" name="AutoShape 2"/>
          <p:cNvSpPr>
            <a:spLocks/>
          </p:cNvSpPr>
          <p:nvPr userDrawn="1"/>
        </p:nvSpPr>
        <p:spPr bwMode="auto">
          <a:xfrm>
            <a:off x="5521844" y="44451"/>
            <a:ext cx="3578225" cy="711200"/>
          </a:xfrm>
          <a:custGeom>
            <a:avLst/>
            <a:gdLst>
              <a:gd name="T0" fmla="*/ 2849 w 21600"/>
              <a:gd name="T1" fmla="*/ 2083 h 21600"/>
              <a:gd name="T2" fmla="*/ 2593 w 21600"/>
              <a:gd name="T3" fmla="*/ 15539 h 21600"/>
              <a:gd name="T4" fmla="*/ 0 w 21600"/>
              <a:gd name="T5" fmla="*/ 18263 h 21600"/>
              <a:gd name="T6" fmla="*/ 1595 w 21600"/>
              <a:gd name="T7" fmla="*/ 0 h 21600"/>
              <a:gd name="T8" fmla="*/ 1126 w 21600"/>
              <a:gd name="T9" fmla="*/ 15219 h 21600"/>
              <a:gd name="T10" fmla="*/ 2351 w 21600"/>
              <a:gd name="T11" fmla="*/ 7210 h 21600"/>
              <a:gd name="T12" fmla="*/ 1575 w 21600"/>
              <a:gd name="T13" fmla="*/ 3045 h 21600"/>
              <a:gd name="T14" fmla="*/ 869 w 21600"/>
              <a:gd name="T15" fmla="*/ 15219 h 21600"/>
              <a:gd name="T16" fmla="*/ 5541 w 21600"/>
              <a:gd name="T17" fmla="*/ 10574 h 21600"/>
              <a:gd name="T18" fmla="*/ 4484 w 21600"/>
              <a:gd name="T19" fmla="*/ 7450 h 21600"/>
              <a:gd name="T20" fmla="*/ 6079 w 21600"/>
              <a:gd name="T21" fmla="*/ 3018 h 21600"/>
              <a:gd name="T22" fmla="*/ 3956 w 21600"/>
              <a:gd name="T23" fmla="*/ 1 h 21600"/>
              <a:gd name="T24" fmla="*/ 5669 w 21600"/>
              <a:gd name="T25" fmla="*/ 18263 h 21600"/>
              <a:gd name="T26" fmla="*/ 4232 w 21600"/>
              <a:gd name="T27" fmla="*/ 15246 h 21600"/>
              <a:gd name="T28" fmla="*/ 8514 w 21600"/>
              <a:gd name="T29" fmla="*/ 18262 h 21600"/>
              <a:gd name="T30" fmla="*/ 7111 w 21600"/>
              <a:gd name="T31" fmla="*/ 15245 h 21600"/>
              <a:gd name="T32" fmla="*/ 6840 w 21600"/>
              <a:gd name="T33" fmla="*/ 0 h 21600"/>
              <a:gd name="T34" fmla="*/ 8514 w 21600"/>
              <a:gd name="T35" fmla="*/ 18262 h 21600"/>
              <a:gd name="T36" fmla="*/ 9793 w 21600"/>
              <a:gd name="T37" fmla="*/ 18263 h 21600"/>
              <a:gd name="T38" fmla="*/ 9615 w 21600"/>
              <a:gd name="T39" fmla="*/ 0 h 21600"/>
              <a:gd name="T40" fmla="*/ 10830 w 21600"/>
              <a:gd name="T41" fmla="*/ 0 h 21600"/>
              <a:gd name="T42" fmla="*/ 12247 w 21600"/>
              <a:gd name="T43" fmla="*/ 18263 h 21600"/>
              <a:gd name="T44" fmla="*/ 13170 w 21600"/>
              <a:gd name="T45" fmla="*/ 0 h 21600"/>
              <a:gd name="T46" fmla="*/ 11625 w 21600"/>
              <a:gd name="T47" fmla="*/ 0 h 21600"/>
              <a:gd name="T48" fmla="*/ 14790 w 21600"/>
              <a:gd name="T49" fmla="*/ 10574 h 21600"/>
              <a:gd name="T50" fmla="*/ 16054 w 21600"/>
              <a:gd name="T51" fmla="*/ 7450 h 21600"/>
              <a:gd name="T52" fmla="*/ 15037 w 21600"/>
              <a:gd name="T53" fmla="*/ 3018 h 21600"/>
              <a:gd name="T54" fmla="*/ 16647 w 21600"/>
              <a:gd name="T55" fmla="*/ 1 h 21600"/>
              <a:gd name="T56" fmla="*/ 13773 w 21600"/>
              <a:gd name="T57" fmla="*/ 18263 h 21600"/>
              <a:gd name="T58" fmla="*/ 16173 w 21600"/>
              <a:gd name="T59" fmla="*/ 15246 h 21600"/>
              <a:gd name="T60" fmla="*/ 14790 w 21600"/>
              <a:gd name="T61" fmla="*/ 10574 h 21600"/>
              <a:gd name="T62" fmla="*/ 18790 w 21600"/>
              <a:gd name="T63" fmla="*/ 10947 h 21600"/>
              <a:gd name="T64" fmla="*/ 18489 w 21600"/>
              <a:gd name="T65" fmla="*/ 18262 h 21600"/>
              <a:gd name="T66" fmla="*/ 17640 w 21600"/>
              <a:gd name="T67" fmla="*/ 11641 h 21600"/>
              <a:gd name="T68" fmla="*/ 16657 w 21600"/>
              <a:gd name="T69" fmla="*/ 18262 h 21600"/>
              <a:gd name="T70" fmla="*/ 18400 w 21600"/>
              <a:gd name="T71" fmla="*/ 0 h 21600"/>
              <a:gd name="T72" fmla="*/ 19580 w 21600"/>
              <a:gd name="T73" fmla="*/ 5207 h 21600"/>
              <a:gd name="T74" fmla="*/ 17738 w 21600"/>
              <a:gd name="T75" fmla="*/ 8624 h 21600"/>
              <a:gd name="T76" fmla="*/ 18627 w 21600"/>
              <a:gd name="T77" fmla="*/ 7663 h 21600"/>
              <a:gd name="T78" fmla="*/ 18716 w 21600"/>
              <a:gd name="T79" fmla="*/ 3685 h 21600"/>
              <a:gd name="T80" fmla="*/ 17921 w 21600"/>
              <a:gd name="T81" fmla="*/ 3017 h 21600"/>
              <a:gd name="T82" fmla="*/ 21511 w 21600"/>
              <a:gd name="T83" fmla="*/ 21600 h 21600"/>
              <a:gd name="T84" fmla="*/ 19482 w 21600"/>
              <a:gd name="T85" fmla="*/ 19011 h 21600"/>
              <a:gd name="T86" fmla="*/ 21511 w 21600"/>
              <a:gd name="T87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1600" h="21600">
                <a:moveTo>
                  <a:pt x="1595" y="0"/>
                </a:moveTo>
                <a:cubicBezTo>
                  <a:pt x="2099" y="0"/>
                  <a:pt x="2568" y="481"/>
                  <a:pt x="2849" y="2083"/>
                </a:cubicBezTo>
                <a:cubicBezTo>
                  <a:pt x="3072" y="3338"/>
                  <a:pt x="3146" y="5074"/>
                  <a:pt x="3146" y="7129"/>
                </a:cubicBezTo>
                <a:cubicBezTo>
                  <a:pt x="3146" y="10386"/>
                  <a:pt x="2963" y="13484"/>
                  <a:pt x="2593" y="15539"/>
                </a:cubicBezTo>
                <a:cubicBezTo>
                  <a:pt x="2203" y="17702"/>
                  <a:pt x="1659" y="18263"/>
                  <a:pt x="1047" y="18263"/>
                </a:cubicBezTo>
                <a:lnTo>
                  <a:pt x="0" y="18263"/>
                </a:lnTo>
                <a:lnTo>
                  <a:pt x="593" y="0"/>
                </a:lnTo>
                <a:lnTo>
                  <a:pt x="1595" y="0"/>
                </a:lnTo>
                <a:close/>
                <a:moveTo>
                  <a:pt x="869" y="15219"/>
                </a:moveTo>
                <a:lnTo>
                  <a:pt x="1126" y="15219"/>
                </a:lnTo>
                <a:cubicBezTo>
                  <a:pt x="1546" y="15219"/>
                  <a:pt x="1822" y="14659"/>
                  <a:pt x="2039" y="12977"/>
                </a:cubicBezTo>
                <a:cubicBezTo>
                  <a:pt x="2217" y="11588"/>
                  <a:pt x="2351" y="9479"/>
                  <a:pt x="2351" y="7210"/>
                </a:cubicBezTo>
                <a:cubicBezTo>
                  <a:pt x="2351" y="5821"/>
                  <a:pt x="2301" y="4833"/>
                  <a:pt x="2188" y="4138"/>
                </a:cubicBezTo>
                <a:cubicBezTo>
                  <a:pt x="2069" y="3419"/>
                  <a:pt x="1881" y="3045"/>
                  <a:pt x="1575" y="3045"/>
                </a:cubicBezTo>
                <a:lnTo>
                  <a:pt x="1264" y="3045"/>
                </a:lnTo>
                <a:lnTo>
                  <a:pt x="869" y="15219"/>
                </a:lnTo>
                <a:close/>
                <a:moveTo>
                  <a:pt x="4380" y="10574"/>
                </a:moveTo>
                <a:lnTo>
                  <a:pt x="5541" y="10574"/>
                </a:lnTo>
                <a:lnTo>
                  <a:pt x="5644" y="7450"/>
                </a:lnTo>
                <a:lnTo>
                  <a:pt x="4484" y="7450"/>
                </a:lnTo>
                <a:lnTo>
                  <a:pt x="4627" y="3018"/>
                </a:lnTo>
                <a:lnTo>
                  <a:pt x="6079" y="3018"/>
                </a:lnTo>
                <a:lnTo>
                  <a:pt x="6237" y="1"/>
                </a:lnTo>
                <a:lnTo>
                  <a:pt x="3956" y="1"/>
                </a:lnTo>
                <a:lnTo>
                  <a:pt x="3363" y="18263"/>
                </a:lnTo>
                <a:lnTo>
                  <a:pt x="5669" y="18263"/>
                </a:lnTo>
                <a:lnTo>
                  <a:pt x="5763" y="15246"/>
                </a:lnTo>
                <a:lnTo>
                  <a:pt x="4232" y="15246"/>
                </a:lnTo>
                <a:lnTo>
                  <a:pt x="4380" y="10574"/>
                </a:lnTo>
                <a:close/>
                <a:moveTo>
                  <a:pt x="8514" y="18262"/>
                </a:moveTo>
                <a:lnTo>
                  <a:pt x="8607" y="15245"/>
                </a:lnTo>
                <a:lnTo>
                  <a:pt x="7111" y="15245"/>
                </a:lnTo>
                <a:lnTo>
                  <a:pt x="7610" y="0"/>
                </a:lnTo>
                <a:lnTo>
                  <a:pt x="6840" y="0"/>
                </a:lnTo>
                <a:lnTo>
                  <a:pt x="6247" y="18262"/>
                </a:lnTo>
                <a:lnTo>
                  <a:pt x="8514" y="18262"/>
                </a:lnTo>
                <a:close/>
                <a:moveTo>
                  <a:pt x="9022" y="18263"/>
                </a:moveTo>
                <a:lnTo>
                  <a:pt x="9793" y="18263"/>
                </a:lnTo>
                <a:lnTo>
                  <a:pt x="10385" y="0"/>
                </a:lnTo>
                <a:lnTo>
                  <a:pt x="9615" y="0"/>
                </a:lnTo>
                <a:lnTo>
                  <a:pt x="9022" y="18263"/>
                </a:lnTo>
                <a:close/>
                <a:moveTo>
                  <a:pt x="10830" y="0"/>
                </a:moveTo>
                <a:lnTo>
                  <a:pt x="11412" y="18263"/>
                </a:lnTo>
                <a:lnTo>
                  <a:pt x="12247" y="18263"/>
                </a:lnTo>
                <a:lnTo>
                  <a:pt x="13961" y="0"/>
                </a:lnTo>
                <a:lnTo>
                  <a:pt x="13170" y="0"/>
                </a:lnTo>
                <a:lnTo>
                  <a:pt x="11995" y="13457"/>
                </a:lnTo>
                <a:lnTo>
                  <a:pt x="11625" y="0"/>
                </a:lnTo>
                <a:lnTo>
                  <a:pt x="10830" y="0"/>
                </a:lnTo>
                <a:close/>
                <a:moveTo>
                  <a:pt x="14790" y="10574"/>
                </a:moveTo>
                <a:lnTo>
                  <a:pt x="15951" y="10574"/>
                </a:lnTo>
                <a:lnTo>
                  <a:pt x="16054" y="7450"/>
                </a:lnTo>
                <a:lnTo>
                  <a:pt x="14894" y="7450"/>
                </a:lnTo>
                <a:lnTo>
                  <a:pt x="15037" y="3018"/>
                </a:lnTo>
                <a:lnTo>
                  <a:pt x="16489" y="3018"/>
                </a:lnTo>
                <a:lnTo>
                  <a:pt x="16647" y="1"/>
                </a:lnTo>
                <a:lnTo>
                  <a:pt x="14365" y="1"/>
                </a:lnTo>
                <a:lnTo>
                  <a:pt x="13773" y="18263"/>
                </a:lnTo>
                <a:lnTo>
                  <a:pt x="16079" y="18263"/>
                </a:lnTo>
                <a:lnTo>
                  <a:pt x="16173" y="15246"/>
                </a:lnTo>
                <a:lnTo>
                  <a:pt x="14642" y="15246"/>
                </a:lnTo>
                <a:lnTo>
                  <a:pt x="14790" y="10574"/>
                </a:lnTo>
                <a:close/>
                <a:moveTo>
                  <a:pt x="19397" y="8597"/>
                </a:moveTo>
                <a:cubicBezTo>
                  <a:pt x="19269" y="9559"/>
                  <a:pt x="19062" y="10360"/>
                  <a:pt x="18790" y="10947"/>
                </a:cubicBezTo>
                <a:lnTo>
                  <a:pt x="19314" y="18262"/>
                </a:lnTo>
                <a:lnTo>
                  <a:pt x="18489" y="18262"/>
                </a:lnTo>
                <a:lnTo>
                  <a:pt x="18094" y="11641"/>
                </a:lnTo>
                <a:lnTo>
                  <a:pt x="17640" y="11641"/>
                </a:lnTo>
                <a:lnTo>
                  <a:pt x="17427" y="18262"/>
                </a:lnTo>
                <a:lnTo>
                  <a:pt x="16657" y="18262"/>
                </a:lnTo>
                <a:lnTo>
                  <a:pt x="17249" y="0"/>
                </a:lnTo>
                <a:lnTo>
                  <a:pt x="18400" y="0"/>
                </a:lnTo>
                <a:cubicBezTo>
                  <a:pt x="18820" y="0"/>
                  <a:pt x="19111" y="481"/>
                  <a:pt x="19294" y="1336"/>
                </a:cubicBezTo>
                <a:cubicBezTo>
                  <a:pt x="19496" y="2269"/>
                  <a:pt x="19580" y="3631"/>
                  <a:pt x="19580" y="5207"/>
                </a:cubicBezTo>
                <a:cubicBezTo>
                  <a:pt x="19580" y="6514"/>
                  <a:pt x="19521" y="7663"/>
                  <a:pt x="19397" y="8597"/>
                </a:cubicBezTo>
                <a:moveTo>
                  <a:pt x="17738" y="8624"/>
                </a:moveTo>
                <a:lnTo>
                  <a:pt x="18035" y="8624"/>
                </a:lnTo>
                <a:cubicBezTo>
                  <a:pt x="18272" y="8624"/>
                  <a:pt x="18484" y="8383"/>
                  <a:pt x="18627" y="7663"/>
                </a:cubicBezTo>
                <a:cubicBezTo>
                  <a:pt x="18741" y="7103"/>
                  <a:pt x="18815" y="6195"/>
                  <a:pt x="18815" y="5233"/>
                </a:cubicBezTo>
                <a:cubicBezTo>
                  <a:pt x="18815" y="4619"/>
                  <a:pt x="18785" y="4059"/>
                  <a:pt x="18716" y="3685"/>
                </a:cubicBezTo>
                <a:cubicBezTo>
                  <a:pt x="18637" y="3258"/>
                  <a:pt x="18514" y="3017"/>
                  <a:pt x="18306" y="3017"/>
                </a:cubicBezTo>
                <a:lnTo>
                  <a:pt x="17921" y="3017"/>
                </a:lnTo>
                <a:lnTo>
                  <a:pt x="17738" y="8624"/>
                </a:lnTo>
                <a:close/>
                <a:moveTo>
                  <a:pt x="21511" y="21600"/>
                </a:moveTo>
                <a:lnTo>
                  <a:pt x="21600" y="19011"/>
                </a:lnTo>
                <a:lnTo>
                  <a:pt x="19482" y="19011"/>
                </a:lnTo>
                <a:lnTo>
                  <a:pt x="19393" y="21600"/>
                </a:lnTo>
                <a:lnTo>
                  <a:pt x="21511" y="21600"/>
                </a:lnTo>
                <a:close/>
                <a:moveTo>
                  <a:pt x="21511" y="21600"/>
                </a:moveTo>
              </a:path>
            </a:pathLst>
          </a:custGeom>
          <a:solidFill>
            <a:srgbClr val="003245">
              <a:alpha val="25000"/>
            </a:srgbClr>
          </a:solidFill>
          <a:ln>
            <a:noFill/>
          </a:ln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47" name="AutoShape 2"/>
          <p:cNvSpPr>
            <a:spLocks noChangeAspect="1"/>
          </p:cNvSpPr>
          <p:nvPr userDrawn="1"/>
        </p:nvSpPr>
        <p:spPr bwMode="auto">
          <a:xfrm>
            <a:off x="6502375" y="476254"/>
            <a:ext cx="2383701" cy="423427"/>
          </a:xfrm>
          <a:custGeom>
            <a:avLst/>
            <a:gdLst>
              <a:gd name="T0" fmla="*/ 2849 w 21600"/>
              <a:gd name="T1" fmla="*/ 2083 h 21600"/>
              <a:gd name="T2" fmla="*/ 2593 w 21600"/>
              <a:gd name="T3" fmla="*/ 15539 h 21600"/>
              <a:gd name="T4" fmla="*/ 0 w 21600"/>
              <a:gd name="T5" fmla="*/ 18263 h 21600"/>
              <a:gd name="T6" fmla="*/ 1595 w 21600"/>
              <a:gd name="T7" fmla="*/ 0 h 21600"/>
              <a:gd name="T8" fmla="*/ 1126 w 21600"/>
              <a:gd name="T9" fmla="*/ 15219 h 21600"/>
              <a:gd name="T10" fmla="*/ 2351 w 21600"/>
              <a:gd name="T11" fmla="*/ 7210 h 21600"/>
              <a:gd name="T12" fmla="*/ 1575 w 21600"/>
              <a:gd name="T13" fmla="*/ 3045 h 21600"/>
              <a:gd name="T14" fmla="*/ 869 w 21600"/>
              <a:gd name="T15" fmla="*/ 15219 h 21600"/>
              <a:gd name="T16" fmla="*/ 5541 w 21600"/>
              <a:gd name="T17" fmla="*/ 10574 h 21600"/>
              <a:gd name="T18" fmla="*/ 4484 w 21600"/>
              <a:gd name="T19" fmla="*/ 7450 h 21600"/>
              <a:gd name="T20" fmla="*/ 6079 w 21600"/>
              <a:gd name="T21" fmla="*/ 3018 h 21600"/>
              <a:gd name="T22" fmla="*/ 3956 w 21600"/>
              <a:gd name="T23" fmla="*/ 1 h 21600"/>
              <a:gd name="T24" fmla="*/ 5669 w 21600"/>
              <a:gd name="T25" fmla="*/ 18263 h 21600"/>
              <a:gd name="T26" fmla="*/ 4232 w 21600"/>
              <a:gd name="T27" fmla="*/ 15246 h 21600"/>
              <a:gd name="T28" fmla="*/ 8514 w 21600"/>
              <a:gd name="T29" fmla="*/ 18262 h 21600"/>
              <a:gd name="T30" fmla="*/ 7111 w 21600"/>
              <a:gd name="T31" fmla="*/ 15245 h 21600"/>
              <a:gd name="T32" fmla="*/ 6840 w 21600"/>
              <a:gd name="T33" fmla="*/ 0 h 21600"/>
              <a:gd name="T34" fmla="*/ 8514 w 21600"/>
              <a:gd name="T35" fmla="*/ 18262 h 21600"/>
              <a:gd name="T36" fmla="*/ 9793 w 21600"/>
              <a:gd name="T37" fmla="*/ 18263 h 21600"/>
              <a:gd name="T38" fmla="*/ 9615 w 21600"/>
              <a:gd name="T39" fmla="*/ 0 h 21600"/>
              <a:gd name="T40" fmla="*/ 10830 w 21600"/>
              <a:gd name="T41" fmla="*/ 0 h 21600"/>
              <a:gd name="T42" fmla="*/ 12247 w 21600"/>
              <a:gd name="T43" fmla="*/ 18263 h 21600"/>
              <a:gd name="T44" fmla="*/ 13170 w 21600"/>
              <a:gd name="T45" fmla="*/ 0 h 21600"/>
              <a:gd name="T46" fmla="*/ 11625 w 21600"/>
              <a:gd name="T47" fmla="*/ 0 h 21600"/>
              <a:gd name="T48" fmla="*/ 14790 w 21600"/>
              <a:gd name="T49" fmla="*/ 10574 h 21600"/>
              <a:gd name="T50" fmla="*/ 16054 w 21600"/>
              <a:gd name="T51" fmla="*/ 7450 h 21600"/>
              <a:gd name="T52" fmla="*/ 15037 w 21600"/>
              <a:gd name="T53" fmla="*/ 3018 h 21600"/>
              <a:gd name="T54" fmla="*/ 16647 w 21600"/>
              <a:gd name="T55" fmla="*/ 1 h 21600"/>
              <a:gd name="T56" fmla="*/ 13773 w 21600"/>
              <a:gd name="T57" fmla="*/ 18263 h 21600"/>
              <a:gd name="T58" fmla="*/ 16173 w 21600"/>
              <a:gd name="T59" fmla="*/ 15246 h 21600"/>
              <a:gd name="T60" fmla="*/ 14790 w 21600"/>
              <a:gd name="T61" fmla="*/ 10574 h 21600"/>
              <a:gd name="T62" fmla="*/ 18790 w 21600"/>
              <a:gd name="T63" fmla="*/ 10947 h 21600"/>
              <a:gd name="T64" fmla="*/ 18489 w 21600"/>
              <a:gd name="T65" fmla="*/ 18262 h 21600"/>
              <a:gd name="T66" fmla="*/ 17640 w 21600"/>
              <a:gd name="T67" fmla="*/ 11641 h 21600"/>
              <a:gd name="T68" fmla="*/ 16657 w 21600"/>
              <a:gd name="T69" fmla="*/ 18262 h 21600"/>
              <a:gd name="T70" fmla="*/ 18400 w 21600"/>
              <a:gd name="T71" fmla="*/ 0 h 21600"/>
              <a:gd name="T72" fmla="*/ 19580 w 21600"/>
              <a:gd name="T73" fmla="*/ 5207 h 21600"/>
              <a:gd name="T74" fmla="*/ 17738 w 21600"/>
              <a:gd name="T75" fmla="*/ 8624 h 21600"/>
              <a:gd name="T76" fmla="*/ 18627 w 21600"/>
              <a:gd name="T77" fmla="*/ 7663 h 21600"/>
              <a:gd name="T78" fmla="*/ 18716 w 21600"/>
              <a:gd name="T79" fmla="*/ 3685 h 21600"/>
              <a:gd name="T80" fmla="*/ 17921 w 21600"/>
              <a:gd name="T81" fmla="*/ 3017 h 21600"/>
              <a:gd name="T82" fmla="*/ 21511 w 21600"/>
              <a:gd name="T83" fmla="*/ 21600 h 21600"/>
              <a:gd name="T84" fmla="*/ 19482 w 21600"/>
              <a:gd name="T85" fmla="*/ 19011 h 21600"/>
              <a:gd name="T86" fmla="*/ 21511 w 21600"/>
              <a:gd name="T87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1600" h="21600">
                <a:moveTo>
                  <a:pt x="1595" y="0"/>
                </a:moveTo>
                <a:cubicBezTo>
                  <a:pt x="2099" y="0"/>
                  <a:pt x="2568" y="481"/>
                  <a:pt x="2849" y="2083"/>
                </a:cubicBezTo>
                <a:cubicBezTo>
                  <a:pt x="3072" y="3338"/>
                  <a:pt x="3146" y="5074"/>
                  <a:pt x="3146" y="7129"/>
                </a:cubicBezTo>
                <a:cubicBezTo>
                  <a:pt x="3146" y="10386"/>
                  <a:pt x="2963" y="13484"/>
                  <a:pt x="2593" y="15539"/>
                </a:cubicBezTo>
                <a:cubicBezTo>
                  <a:pt x="2203" y="17702"/>
                  <a:pt x="1659" y="18263"/>
                  <a:pt x="1047" y="18263"/>
                </a:cubicBezTo>
                <a:lnTo>
                  <a:pt x="0" y="18263"/>
                </a:lnTo>
                <a:lnTo>
                  <a:pt x="593" y="0"/>
                </a:lnTo>
                <a:lnTo>
                  <a:pt x="1595" y="0"/>
                </a:lnTo>
                <a:close/>
                <a:moveTo>
                  <a:pt x="869" y="15219"/>
                </a:moveTo>
                <a:lnTo>
                  <a:pt x="1126" y="15219"/>
                </a:lnTo>
                <a:cubicBezTo>
                  <a:pt x="1546" y="15219"/>
                  <a:pt x="1822" y="14659"/>
                  <a:pt x="2039" y="12977"/>
                </a:cubicBezTo>
                <a:cubicBezTo>
                  <a:pt x="2217" y="11588"/>
                  <a:pt x="2351" y="9479"/>
                  <a:pt x="2351" y="7210"/>
                </a:cubicBezTo>
                <a:cubicBezTo>
                  <a:pt x="2351" y="5821"/>
                  <a:pt x="2301" y="4833"/>
                  <a:pt x="2188" y="4138"/>
                </a:cubicBezTo>
                <a:cubicBezTo>
                  <a:pt x="2069" y="3419"/>
                  <a:pt x="1881" y="3045"/>
                  <a:pt x="1575" y="3045"/>
                </a:cubicBezTo>
                <a:lnTo>
                  <a:pt x="1264" y="3045"/>
                </a:lnTo>
                <a:lnTo>
                  <a:pt x="869" y="15219"/>
                </a:lnTo>
                <a:close/>
                <a:moveTo>
                  <a:pt x="4380" y="10574"/>
                </a:moveTo>
                <a:lnTo>
                  <a:pt x="5541" y="10574"/>
                </a:lnTo>
                <a:lnTo>
                  <a:pt x="5644" y="7450"/>
                </a:lnTo>
                <a:lnTo>
                  <a:pt x="4484" y="7450"/>
                </a:lnTo>
                <a:lnTo>
                  <a:pt x="4627" y="3018"/>
                </a:lnTo>
                <a:lnTo>
                  <a:pt x="6079" y="3018"/>
                </a:lnTo>
                <a:lnTo>
                  <a:pt x="6237" y="1"/>
                </a:lnTo>
                <a:lnTo>
                  <a:pt x="3956" y="1"/>
                </a:lnTo>
                <a:lnTo>
                  <a:pt x="3363" y="18263"/>
                </a:lnTo>
                <a:lnTo>
                  <a:pt x="5669" y="18263"/>
                </a:lnTo>
                <a:lnTo>
                  <a:pt x="5763" y="15246"/>
                </a:lnTo>
                <a:lnTo>
                  <a:pt x="4232" y="15246"/>
                </a:lnTo>
                <a:lnTo>
                  <a:pt x="4380" y="10574"/>
                </a:lnTo>
                <a:close/>
                <a:moveTo>
                  <a:pt x="8514" y="18262"/>
                </a:moveTo>
                <a:lnTo>
                  <a:pt x="8607" y="15245"/>
                </a:lnTo>
                <a:lnTo>
                  <a:pt x="7111" y="15245"/>
                </a:lnTo>
                <a:lnTo>
                  <a:pt x="7610" y="0"/>
                </a:lnTo>
                <a:lnTo>
                  <a:pt x="6840" y="0"/>
                </a:lnTo>
                <a:lnTo>
                  <a:pt x="6247" y="18262"/>
                </a:lnTo>
                <a:lnTo>
                  <a:pt x="8514" y="18262"/>
                </a:lnTo>
                <a:close/>
                <a:moveTo>
                  <a:pt x="9022" y="18263"/>
                </a:moveTo>
                <a:lnTo>
                  <a:pt x="9793" y="18263"/>
                </a:lnTo>
                <a:lnTo>
                  <a:pt x="10385" y="0"/>
                </a:lnTo>
                <a:lnTo>
                  <a:pt x="9615" y="0"/>
                </a:lnTo>
                <a:lnTo>
                  <a:pt x="9022" y="18263"/>
                </a:lnTo>
                <a:close/>
                <a:moveTo>
                  <a:pt x="10830" y="0"/>
                </a:moveTo>
                <a:lnTo>
                  <a:pt x="11412" y="18263"/>
                </a:lnTo>
                <a:lnTo>
                  <a:pt x="12247" y="18263"/>
                </a:lnTo>
                <a:lnTo>
                  <a:pt x="13961" y="0"/>
                </a:lnTo>
                <a:lnTo>
                  <a:pt x="13170" y="0"/>
                </a:lnTo>
                <a:lnTo>
                  <a:pt x="11995" y="13457"/>
                </a:lnTo>
                <a:lnTo>
                  <a:pt x="11625" y="0"/>
                </a:lnTo>
                <a:lnTo>
                  <a:pt x="10830" y="0"/>
                </a:lnTo>
                <a:close/>
                <a:moveTo>
                  <a:pt x="14790" y="10574"/>
                </a:moveTo>
                <a:lnTo>
                  <a:pt x="15951" y="10574"/>
                </a:lnTo>
                <a:lnTo>
                  <a:pt x="16054" y="7450"/>
                </a:lnTo>
                <a:lnTo>
                  <a:pt x="14894" y="7450"/>
                </a:lnTo>
                <a:lnTo>
                  <a:pt x="15037" y="3018"/>
                </a:lnTo>
                <a:lnTo>
                  <a:pt x="16489" y="3018"/>
                </a:lnTo>
                <a:lnTo>
                  <a:pt x="16647" y="1"/>
                </a:lnTo>
                <a:lnTo>
                  <a:pt x="14365" y="1"/>
                </a:lnTo>
                <a:lnTo>
                  <a:pt x="13773" y="18263"/>
                </a:lnTo>
                <a:lnTo>
                  <a:pt x="16079" y="18263"/>
                </a:lnTo>
                <a:lnTo>
                  <a:pt x="16173" y="15246"/>
                </a:lnTo>
                <a:lnTo>
                  <a:pt x="14642" y="15246"/>
                </a:lnTo>
                <a:lnTo>
                  <a:pt x="14790" y="10574"/>
                </a:lnTo>
                <a:close/>
                <a:moveTo>
                  <a:pt x="19397" y="8597"/>
                </a:moveTo>
                <a:cubicBezTo>
                  <a:pt x="19269" y="9559"/>
                  <a:pt x="19062" y="10360"/>
                  <a:pt x="18790" y="10947"/>
                </a:cubicBezTo>
                <a:lnTo>
                  <a:pt x="19314" y="18262"/>
                </a:lnTo>
                <a:lnTo>
                  <a:pt x="18489" y="18262"/>
                </a:lnTo>
                <a:lnTo>
                  <a:pt x="18094" y="11641"/>
                </a:lnTo>
                <a:lnTo>
                  <a:pt x="17640" y="11641"/>
                </a:lnTo>
                <a:lnTo>
                  <a:pt x="17427" y="18262"/>
                </a:lnTo>
                <a:lnTo>
                  <a:pt x="16657" y="18262"/>
                </a:lnTo>
                <a:lnTo>
                  <a:pt x="17249" y="0"/>
                </a:lnTo>
                <a:lnTo>
                  <a:pt x="18400" y="0"/>
                </a:lnTo>
                <a:cubicBezTo>
                  <a:pt x="18820" y="0"/>
                  <a:pt x="19111" y="481"/>
                  <a:pt x="19294" y="1336"/>
                </a:cubicBezTo>
                <a:cubicBezTo>
                  <a:pt x="19496" y="2269"/>
                  <a:pt x="19580" y="3631"/>
                  <a:pt x="19580" y="5207"/>
                </a:cubicBezTo>
                <a:cubicBezTo>
                  <a:pt x="19580" y="6514"/>
                  <a:pt x="19521" y="7663"/>
                  <a:pt x="19397" y="8597"/>
                </a:cubicBezTo>
                <a:moveTo>
                  <a:pt x="17738" y="8624"/>
                </a:moveTo>
                <a:lnTo>
                  <a:pt x="18035" y="8624"/>
                </a:lnTo>
                <a:cubicBezTo>
                  <a:pt x="18272" y="8624"/>
                  <a:pt x="18484" y="8383"/>
                  <a:pt x="18627" y="7663"/>
                </a:cubicBezTo>
                <a:cubicBezTo>
                  <a:pt x="18741" y="7103"/>
                  <a:pt x="18815" y="6195"/>
                  <a:pt x="18815" y="5233"/>
                </a:cubicBezTo>
                <a:cubicBezTo>
                  <a:pt x="18815" y="4619"/>
                  <a:pt x="18785" y="4059"/>
                  <a:pt x="18716" y="3685"/>
                </a:cubicBezTo>
                <a:cubicBezTo>
                  <a:pt x="18637" y="3258"/>
                  <a:pt x="18514" y="3017"/>
                  <a:pt x="18306" y="3017"/>
                </a:cubicBezTo>
                <a:lnTo>
                  <a:pt x="17921" y="3017"/>
                </a:lnTo>
                <a:lnTo>
                  <a:pt x="17738" y="8624"/>
                </a:lnTo>
                <a:close/>
                <a:moveTo>
                  <a:pt x="21511" y="21600"/>
                </a:moveTo>
                <a:lnTo>
                  <a:pt x="21600" y="19011"/>
                </a:lnTo>
                <a:lnTo>
                  <a:pt x="19482" y="19011"/>
                </a:lnTo>
                <a:lnTo>
                  <a:pt x="19393" y="21600"/>
                </a:lnTo>
                <a:lnTo>
                  <a:pt x="21511" y="21600"/>
                </a:lnTo>
                <a:close/>
                <a:moveTo>
                  <a:pt x="21511" y="21600"/>
                </a:moveTo>
              </a:path>
            </a:pathLst>
          </a:custGeom>
          <a:solidFill>
            <a:srgbClr val="003245">
              <a:alpha val="60000"/>
            </a:srgbClr>
          </a:solidFill>
          <a:ln>
            <a:noFill/>
          </a:ln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rgbClr val="003245"/>
              </a:solidFill>
              <a:latin typeface="Trebuchet MS"/>
              <a:cs typeface="Arial" panose="020B0604020202020204" pitchFamily="34" charset="0"/>
            </a:endParaRPr>
          </a:p>
        </p:txBody>
      </p:sp>
      <p:grpSp>
        <p:nvGrpSpPr>
          <p:cNvPr id="48" name="Grupo 14"/>
          <p:cNvGrpSpPr/>
          <p:nvPr userDrawn="1"/>
        </p:nvGrpSpPr>
        <p:grpSpPr>
          <a:xfrm>
            <a:off x="58869" y="6464202"/>
            <a:ext cx="1957587" cy="347874"/>
            <a:chOff x="58864" y="6464175"/>
            <a:chExt cx="1957589" cy="347874"/>
          </a:xfrm>
        </p:grpSpPr>
        <p:grpSp>
          <p:nvGrpSpPr>
            <p:cNvPr id="49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51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003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662" kern="0">
                  <a:solidFill>
                    <a:sysClr val="windowText" lastClr="000000"/>
                  </a:solidFill>
                  <a:latin typeface="Trebuchet MS"/>
                  <a:cs typeface="Arial" panose="020B0604020202020204" pitchFamily="34" charset="0"/>
                </a:endParaRPr>
              </a:p>
            </p:txBody>
          </p:sp>
          <p:sp>
            <p:nvSpPr>
              <p:cNvPr id="52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662" kern="0">
                  <a:solidFill>
                    <a:sysClr val="windowText" lastClr="000000"/>
                  </a:solidFill>
                  <a:latin typeface="Trebuchet MS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0" name="22 CuadroTexto"/>
            <p:cNvSpPr txBox="1"/>
            <p:nvPr userDrawn="1"/>
          </p:nvSpPr>
          <p:spPr>
            <a:xfrm>
              <a:off x="58864" y="6577689"/>
              <a:ext cx="1957589" cy="2343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23" i="1" kern="0" dirty="0">
                  <a:solidFill>
                    <a:srgbClr val="4BACC6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  <p:sp>
        <p:nvSpPr>
          <p:cNvPr id="53" name="TextBox 52"/>
          <p:cNvSpPr txBox="1">
            <a:spLocks noChangeArrowheads="1"/>
          </p:cNvSpPr>
          <p:nvPr userDrawn="1"/>
        </p:nvSpPr>
        <p:spPr bwMode="gray">
          <a:xfrm>
            <a:off x="4297023" y="6535854"/>
            <a:ext cx="51117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84406" tIns="42203" rIns="84406" bIns="42203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000">
                <a:solidFill>
                  <a:srgbClr val="072534"/>
                </a:solidFill>
                <a:latin typeface="Trebuchet MS" pitchFamily="34" charset="0"/>
              </a:defRPr>
            </a:lvl1pPr>
          </a:lstStyle>
          <a:p>
            <a:pPr algn="ctr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5D33EE1-E5CA-4D6E-B095-AB5B5FA687D6}" type="slidenum">
              <a:rPr lang="en-GB" sz="923" kern="0" smtClean="0">
                <a:latin typeface="Trebuchet MS"/>
                <a:cs typeface="Arial" panose="020B0604020202020204" pitchFamily="34" charset="0"/>
              </a:rPr>
              <a:pPr algn="ctr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GB" sz="923" kern="0" dirty="0">
              <a:latin typeface="Trebuchet MS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356711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s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4"/>
          <p:cNvGrpSpPr>
            <a:grpSpLocks/>
          </p:cNvGrpSpPr>
          <p:nvPr userDrawn="1"/>
        </p:nvGrpSpPr>
        <p:grpSpPr bwMode="auto">
          <a:xfrm>
            <a:off x="7630262" y="6437348"/>
            <a:ext cx="1129811" cy="231775"/>
            <a:chOff x="0" y="0"/>
            <a:chExt cx="591" cy="111"/>
          </a:xfrm>
        </p:grpSpPr>
        <p:sp>
          <p:nvSpPr>
            <p:cNvPr id="19" name="AutoShape 2"/>
            <p:cNvSpPr>
              <a:spLocks/>
            </p:cNvSpPr>
            <p:nvPr/>
          </p:nvSpPr>
          <p:spPr bwMode="auto">
            <a:xfrm>
              <a:off x="0" y="0"/>
              <a:ext cx="546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w 21600"/>
                <a:gd name="T17" fmla="*/ 0 h 21600"/>
                <a:gd name="T18" fmla="*/ 0 w 21600"/>
                <a:gd name="T19" fmla="*/ 0 h 21600"/>
                <a:gd name="T20" fmla="*/ 0 w 21600"/>
                <a:gd name="T21" fmla="*/ 0 h 21600"/>
                <a:gd name="T22" fmla="*/ 0 w 21600"/>
                <a:gd name="T23" fmla="*/ 0 h 21600"/>
                <a:gd name="T24" fmla="*/ 0 w 21600"/>
                <a:gd name="T25" fmla="*/ 0 h 21600"/>
                <a:gd name="T26" fmla="*/ 0 w 21600"/>
                <a:gd name="T27" fmla="*/ 0 h 21600"/>
                <a:gd name="T28" fmla="*/ 0 w 21600"/>
                <a:gd name="T29" fmla="*/ 0 h 21600"/>
                <a:gd name="T30" fmla="*/ 0 w 21600"/>
                <a:gd name="T31" fmla="*/ 0 h 21600"/>
                <a:gd name="T32" fmla="*/ 0 w 21600"/>
                <a:gd name="T33" fmla="*/ 0 h 21600"/>
                <a:gd name="T34" fmla="*/ 0 w 21600"/>
                <a:gd name="T35" fmla="*/ 0 h 21600"/>
                <a:gd name="T36" fmla="*/ 0 w 21600"/>
                <a:gd name="T37" fmla="*/ 0 h 21600"/>
                <a:gd name="T38" fmla="*/ 0 w 21600"/>
                <a:gd name="T39" fmla="*/ 0 h 21600"/>
                <a:gd name="T40" fmla="*/ 0 w 21600"/>
                <a:gd name="T41" fmla="*/ 0 h 21600"/>
                <a:gd name="T42" fmla="*/ 0 w 21600"/>
                <a:gd name="T43" fmla="*/ 0 h 21600"/>
                <a:gd name="T44" fmla="*/ 0 w 21600"/>
                <a:gd name="T45" fmla="*/ 0 h 21600"/>
                <a:gd name="T46" fmla="*/ 0 w 21600"/>
                <a:gd name="T47" fmla="*/ 0 h 21600"/>
                <a:gd name="T48" fmla="*/ 0 w 21600"/>
                <a:gd name="T49" fmla="*/ 0 h 21600"/>
                <a:gd name="T50" fmla="*/ 0 w 21600"/>
                <a:gd name="T51" fmla="*/ 0 h 21600"/>
                <a:gd name="T52" fmla="*/ 0 w 21600"/>
                <a:gd name="T53" fmla="*/ 0 h 21600"/>
                <a:gd name="T54" fmla="*/ 0 w 21600"/>
                <a:gd name="T55" fmla="*/ 0 h 21600"/>
                <a:gd name="T56" fmla="*/ 0 w 21600"/>
                <a:gd name="T57" fmla="*/ 0 h 21600"/>
                <a:gd name="T58" fmla="*/ 0 w 21600"/>
                <a:gd name="T59" fmla="*/ 0 h 21600"/>
                <a:gd name="T60" fmla="*/ 0 w 21600"/>
                <a:gd name="T61" fmla="*/ 0 h 21600"/>
                <a:gd name="T62" fmla="*/ 0 w 21600"/>
                <a:gd name="T63" fmla="*/ 0 h 21600"/>
                <a:gd name="T64" fmla="*/ 0 w 21600"/>
                <a:gd name="T65" fmla="*/ 0 h 21600"/>
                <a:gd name="T66" fmla="*/ 0 w 21600"/>
                <a:gd name="T67" fmla="*/ 0 h 21600"/>
                <a:gd name="T68" fmla="*/ 0 w 21600"/>
                <a:gd name="T69" fmla="*/ 0 h 21600"/>
                <a:gd name="T70" fmla="*/ 0 w 21600"/>
                <a:gd name="T71" fmla="*/ 0 h 21600"/>
                <a:gd name="T72" fmla="*/ 0 w 21600"/>
                <a:gd name="T73" fmla="*/ 0 h 21600"/>
                <a:gd name="T74" fmla="*/ 0 w 21600"/>
                <a:gd name="T75" fmla="*/ 0 h 21600"/>
                <a:gd name="T76" fmla="*/ 0 w 21600"/>
                <a:gd name="T77" fmla="*/ 0 h 21600"/>
                <a:gd name="T78" fmla="*/ 0 w 21600"/>
                <a:gd name="T79" fmla="*/ 0 h 21600"/>
                <a:gd name="T80" fmla="*/ 0 w 21600"/>
                <a:gd name="T81" fmla="*/ 0 h 21600"/>
                <a:gd name="T82" fmla="*/ 0 w 21600"/>
                <a:gd name="T83" fmla="*/ 0 h 21600"/>
                <a:gd name="T84" fmla="*/ 0 w 21600"/>
                <a:gd name="T85" fmla="*/ 0 h 21600"/>
                <a:gd name="T86" fmla="*/ 0 w 21600"/>
                <a:gd name="T87" fmla="*/ 0 h 21600"/>
                <a:gd name="T88" fmla="*/ 0 w 21600"/>
                <a:gd name="T89" fmla="*/ 0 h 21600"/>
                <a:gd name="T90" fmla="*/ 0 w 21600"/>
                <a:gd name="T91" fmla="*/ 0 h 21600"/>
                <a:gd name="T92" fmla="*/ 0 w 21600"/>
                <a:gd name="T93" fmla="*/ 0 h 21600"/>
                <a:gd name="T94" fmla="*/ 0 w 21600"/>
                <a:gd name="T95" fmla="*/ 0 h 21600"/>
                <a:gd name="T96" fmla="*/ 0 w 21600"/>
                <a:gd name="T97" fmla="*/ 0 h 21600"/>
                <a:gd name="T98" fmla="*/ 0 w 21600"/>
                <a:gd name="T99" fmla="*/ 0 h 21600"/>
                <a:gd name="T100" fmla="*/ 0 w 21600"/>
                <a:gd name="T101" fmla="*/ 0 h 216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600"/>
                <a:gd name="T154" fmla="*/ 0 h 21600"/>
                <a:gd name="T155" fmla="*/ 21600 w 21600"/>
                <a:gd name="T156" fmla="*/ 21600 h 216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600" h="21600">
                  <a:moveTo>
                    <a:pt x="2236" y="9904"/>
                  </a:moveTo>
                  <a:cubicBezTo>
                    <a:pt x="2490" y="10359"/>
                    <a:pt x="2636" y="10997"/>
                    <a:pt x="2734" y="11787"/>
                  </a:cubicBezTo>
                  <a:cubicBezTo>
                    <a:pt x="2833" y="12577"/>
                    <a:pt x="2864" y="13428"/>
                    <a:pt x="2864" y="14460"/>
                  </a:cubicBezTo>
                  <a:cubicBezTo>
                    <a:pt x="2864" y="16952"/>
                    <a:pt x="2688" y="18501"/>
                    <a:pt x="2444" y="19473"/>
                  </a:cubicBezTo>
                  <a:cubicBezTo>
                    <a:pt x="2174" y="20567"/>
                    <a:pt x="1764" y="21175"/>
                    <a:pt x="1105" y="21175"/>
                  </a:cubicBezTo>
                  <a:lnTo>
                    <a:pt x="0" y="21175"/>
                  </a:lnTo>
                  <a:lnTo>
                    <a:pt x="623" y="395"/>
                  </a:lnTo>
                  <a:lnTo>
                    <a:pt x="1717" y="395"/>
                  </a:lnTo>
                  <a:cubicBezTo>
                    <a:pt x="2226" y="395"/>
                    <a:pt x="2480" y="942"/>
                    <a:pt x="2636" y="1671"/>
                  </a:cubicBezTo>
                  <a:cubicBezTo>
                    <a:pt x="2823" y="2552"/>
                    <a:pt x="2885" y="3797"/>
                    <a:pt x="2885" y="4982"/>
                  </a:cubicBezTo>
                  <a:cubicBezTo>
                    <a:pt x="2885" y="7017"/>
                    <a:pt x="2703" y="8871"/>
                    <a:pt x="2236" y="9904"/>
                  </a:cubicBezTo>
                  <a:close/>
                  <a:moveTo>
                    <a:pt x="908" y="17742"/>
                  </a:moveTo>
                  <a:lnTo>
                    <a:pt x="1188" y="17742"/>
                  </a:lnTo>
                  <a:cubicBezTo>
                    <a:pt x="1484" y="17742"/>
                    <a:pt x="1645" y="17529"/>
                    <a:pt x="1775" y="17134"/>
                  </a:cubicBezTo>
                  <a:cubicBezTo>
                    <a:pt x="1920" y="16679"/>
                    <a:pt x="2039" y="15919"/>
                    <a:pt x="2039" y="14643"/>
                  </a:cubicBezTo>
                  <a:cubicBezTo>
                    <a:pt x="2039" y="13792"/>
                    <a:pt x="1987" y="13155"/>
                    <a:pt x="1899" y="12760"/>
                  </a:cubicBezTo>
                  <a:cubicBezTo>
                    <a:pt x="1800" y="12304"/>
                    <a:pt x="1650" y="12091"/>
                    <a:pt x="1437" y="12091"/>
                  </a:cubicBezTo>
                  <a:lnTo>
                    <a:pt x="1079" y="12091"/>
                  </a:lnTo>
                  <a:lnTo>
                    <a:pt x="908" y="17742"/>
                  </a:lnTo>
                  <a:close/>
                  <a:moveTo>
                    <a:pt x="1183" y="8658"/>
                  </a:moveTo>
                  <a:lnTo>
                    <a:pt x="1365" y="8658"/>
                  </a:lnTo>
                  <a:cubicBezTo>
                    <a:pt x="1645" y="8658"/>
                    <a:pt x="1800" y="8324"/>
                    <a:pt x="1909" y="7838"/>
                  </a:cubicBezTo>
                  <a:cubicBezTo>
                    <a:pt x="2018" y="7352"/>
                    <a:pt x="2081" y="6623"/>
                    <a:pt x="2081" y="5742"/>
                  </a:cubicBezTo>
                  <a:cubicBezTo>
                    <a:pt x="2081" y="5134"/>
                    <a:pt x="2055" y="4739"/>
                    <a:pt x="1998" y="4405"/>
                  </a:cubicBezTo>
                  <a:cubicBezTo>
                    <a:pt x="1935" y="4071"/>
                    <a:pt x="1831" y="3828"/>
                    <a:pt x="1603" y="3828"/>
                  </a:cubicBezTo>
                  <a:lnTo>
                    <a:pt x="1328" y="3828"/>
                  </a:lnTo>
                  <a:lnTo>
                    <a:pt x="1183" y="8658"/>
                  </a:lnTo>
                  <a:close/>
                  <a:moveTo>
                    <a:pt x="4140" y="17742"/>
                  </a:moveTo>
                  <a:lnTo>
                    <a:pt x="5749" y="17742"/>
                  </a:lnTo>
                  <a:lnTo>
                    <a:pt x="5650" y="21175"/>
                  </a:lnTo>
                  <a:lnTo>
                    <a:pt x="3227" y="21175"/>
                  </a:lnTo>
                  <a:lnTo>
                    <a:pt x="3850" y="395"/>
                  </a:lnTo>
                  <a:lnTo>
                    <a:pt x="6247" y="395"/>
                  </a:lnTo>
                  <a:lnTo>
                    <a:pt x="6081" y="3828"/>
                  </a:lnTo>
                  <a:lnTo>
                    <a:pt x="4556" y="3828"/>
                  </a:lnTo>
                  <a:lnTo>
                    <a:pt x="4405" y="8871"/>
                  </a:lnTo>
                  <a:lnTo>
                    <a:pt x="5624" y="8871"/>
                  </a:lnTo>
                  <a:lnTo>
                    <a:pt x="5515" y="12425"/>
                  </a:lnTo>
                  <a:lnTo>
                    <a:pt x="4296" y="12425"/>
                  </a:lnTo>
                  <a:lnTo>
                    <a:pt x="4140" y="17742"/>
                  </a:lnTo>
                  <a:close/>
                  <a:moveTo>
                    <a:pt x="8540" y="395"/>
                  </a:moveTo>
                  <a:lnTo>
                    <a:pt x="9298" y="11878"/>
                  </a:lnTo>
                  <a:lnTo>
                    <a:pt x="10792" y="395"/>
                  </a:lnTo>
                  <a:lnTo>
                    <a:pt x="11456" y="395"/>
                  </a:lnTo>
                  <a:lnTo>
                    <a:pt x="10834" y="21175"/>
                  </a:lnTo>
                  <a:lnTo>
                    <a:pt x="10092" y="21175"/>
                  </a:lnTo>
                  <a:lnTo>
                    <a:pt x="10450" y="9053"/>
                  </a:lnTo>
                  <a:lnTo>
                    <a:pt x="9495" y="16436"/>
                  </a:lnTo>
                  <a:lnTo>
                    <a:pt x="8872" y="16436"/>
                  </a:lnTo>
                  <a:lnTo>
                    <a:pt x="8354" y="8658"/>
                  </a:lnTo>
                  <a:lnTo>
                    <a:pt x="7975" y="21175"/>
                  </a:lnTo>
                  <a:lnTo>
                    <a:pt x="7295" y="21175"/>
                  </a:lnTo>
                  <a:lnTo>
                    <a:pt x="7918" y="395"/>
                  </a:lnTo>
                  <a:lnTo>
                    <a:pt x="8540" y="395"/>
                  </a:lnTo>
                  <a:close/>
                  <a:moveTo>
                    <a:pt x="11685" y="13640"/>
                  </a:moveTo>
                  <a:cubicBezTo>
                    <a:pt x="11685" y="10451"/>
                    <a:pt x="11820" y="7321"/>
                    <a:pt x="12058" y="4921"/>
                  </a:cubicBezTo>
                  <a:cubicBezTo>
                    <a:pt x="12380" y="1701"/>
                    <a:pt x="12893" y="0"/>
                    <a:pt x="13610" y="0"/>
                  </a:cubicBezTo>
                  <a:cubicBezTo>
                    <a:pt x="14429" y="0"/>
                    <a:pt x="14990" y="2521"/>
                    <a:pt x="14990" y="7959"/>
                  </a:cubicBezTo>
                  <a:cubicBezTo>
                    <a:pt x="14990" y="11149"/>
                    <a:pt x="14855" y="14278"/>
                    <a:pt x="14616" y="16678"/>
                  </a:cubicBezTo>
                  <a:cubicBezTo>
                    <a:pt x="14295" y="19899"/>
                    <a:pt x="13781" y="21600"/>
                    <a:pt x="13065" y="21600"/>
                  </a:cubicBezTo>
                  <a:cubicBezTo>
                    <a:pt x="12245" y="21600"/>
                    <a:pt x="11685" y="19078"/>
                    <a:pt x="11685" y="13640"/>
                  </a:cubicBezTo>
                  <a:close/>
                  <a:moveTo>
                    <a:pt x="12790" y="6775"/>
                  </a:moveTo>
                  <a:cubicBezTo>
                    <a:pt x="12619" y="8688"/>
                    <a:pt x="12520" y="11180"/>
                    <a:pt x="12520" y="13640"/>
                  </a:cubicBezTo>
                  <a:cubicBezTo>
                    <a:pt x="12520" y="16770"/>
                    <a:pt x="12764" y="17894"/>
                    <a:pt x="13127" y="17894"/>
                  </a:cubicBezTo>
                  <a:cubicBezTo>
                    <a:pt x="13469" y="17894"/>
                    <a:pt x="13713" y="16709"/>
                    <a:pt x="13885" y="14825"/>
                  </a:cubicBezTo>
                  <a:cubicBezTo>
                    <a:pt x="14056" y="12912"/>
                    <a:pt x="14154" y="10420"/>
                    <a:pt x="14154" y="7960"/>
                  </a:cubicBezTo>
                  <a:cubicBezTo>
                    <a:pt x="14154" y="4830"/>
                    <a:pt x="13911" y="3706"/>
                    <a:pt x="13547" y="3706"/>
                  </a:cubicBezTo>
                  <a:cubicBezTo>
                    <a:pt x="13205" y="3706"/>
                    <a:pt x="12961" y="4891"/>
                    <a:pt x="12790" y="6775"/>
                  </a:cubicBezTo>
                  <a:close/>
                  <a:moveTo>
                    <a:pt x="18098" y="10177"/>
                  </a:moveTo>
                  <a:cubicBezTo>
                    <a:pt x="17963" y="11271"/>
                    <a:pt x="17745" y="12182"/>
                    <a:pt x="17459" y="12851"/>
                  </a:cubicBezTo>
                  <a:lnTo>
                    <a:pt x="18009" y="21175"/>
                  </a:lnTo>
                  <a:lnTo>
                    <a:pt x="17143" y="21175"/>
                  </a:lnTo>
                  <a:lnTo>
                    <a:pt x="16728" y="13641"/>
                  </a:lnTo>
                  <a:lnTo>
                    <a:pt x="16251" y="13641"/>
                  </a:lnTo>
                  <a:lnTo>
                    <a:pt x="16027" y="21175"/>
                  </a:lnTo>
                  <a:lnTo>
                    <a:pt x="15218" y="21175"/>
                  </a:lnTo>
                  <a:lnTo>
                    <a:pt x="15841" y="395"/>
                  </a:lnTo>
                  <a:lnTo>
                    <a:pt x="17050" y="395"/>
                  </a:lnTo>
                  <a:cubicBezTo>
                    <a:pt x="17491" y="395"/>
                    <a:pt x="17797" y="942"/>
                    <a:pt x="17989" y="1914"/>
                  </a:cubicBezTo>
                  <a:cubicBezTo>
                    <a:pt x="18202" y="2977"/>
                    <a:pt x="18290" y="4526"/>
                    <a:pt x="18290" y="6319"/>
                  </a:cubicBezTo>
                  <a:cubicBezTo>
                    <a:pt x="18290" y="7807"/>
                    <a:pt x="18227" y="9114"/>
                    <a:pt x="18098" y="10177"/>
                  </a:cubicBezTo>
                  <a:close/>
                  <a:moveTo>
                    <a:pt x="16354" y="10208"/>
                  </a:moveTo>
                  <a:lnTo>
                    <a:pt x="16666" y="10208"/>
                  </a:lnTo>
                  <a:cubicBezTo>
                    <a:pt x="16915" y="10208"/>
                    <a:pt x="17138" y="9934"/>
                    <a:pt x="17288" y="9114"/>
                  </a:cubicBezTo>
                  <a:cubicBezTo>
                    <a:pt x="17408" y="8476"/>
                    <a:pt x="17486" y="7443"/>
                    <a:pt x="17486" y="6349"/>
                  </a:cubicBezTo>
                  <a:cubicBezTo>
                    <a:pt x="17486" y="5651"/>
                    <a:pt x="17454" y="5012"/>
                    <a:pt x="17382" y="4587"/>
                  </a:cubicBezTo>
                  <a:cubicBezTo>
                    <a:pt x="17299" y="4101"/>
                    <a:pt x="17169" y="3828"/>
                    <a:pt x="16951" y="3828"/>
                  </a:cubicBezTo>
                  <a:lnTo>
                    <a:pt x="16546" y="3828"/>
                  </a:lnTo>
                  <a:lnTo>
                    <a:pt x="16354" y="10208"/>
                  </a:lnTo>
                  <a:close/>
                  <a:moveTo>
                    <a:pt x="19493" y="17742"/>
                  </a:moveTo>
                  <a:lnTo>
                    <a:pt x="21102" y="17742"/>
                  </a:lnTo>
                  <a:lnTo>
                    <a:pt x="21003" y="21175"/>
                  </a:lnTo>
                  <a:lnTo>
                    <a:pt x="18580" y="21175"/>
                  </a:lnTo>
                  <a:lnTo>
                    <a:pt x="19203" y="395"/>
                  </a:lnTo>
                  <a:lnTo>
                    <a:pt x="21600" y="395"/>
                  </a:lnTo>
                  <a:lnTo>
                    <a:pt x="21434" y="3828"/>
                  </a:lnTo>
                  <a:lnTo>
                    <a:pt x="19909" y="3828"/>
                  </a:lnTo>
                  <a:lnTo>
                    <a:pt x="19758" y="8871"/>
                  </a:lnTo>
                  <a:lnTo>
                    <a:pt x="20977" y="8871"/>
                  </a:lnTo>
                  <a:lnTo>
                    <a:pt x="20868" y="12425"/>
                  </a:lnTo>
                  <a:lnTo>
                    <a:pt x="19649" y="12425"/>
                  </a:lnTo>
                  <a:lnTo>
                    <a:pt x="19493" y="17742"/>
                  </a:lnTo>
                  <a:close/>
                  <a:moveTo>
                    <a:pt x="19493" y="17742"/>
                  </a:moveTo>
                </a:path>
              </a:pathLst>
            </a:custGeom>
            <a:solidFill>
              <a:srgbClr val="003245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662" kern="0">
                <a:solidFill>
                  <a:sysClr val="windowText" lastClr="000000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20" name="AutoShape 3"/>
            <p:cNvSpPr>
              <a:spLocks/>
            </p:cNvSpPr>
            <p:nvPr/>
          </p:nvSpPr>
          <p:spPr bwMode="auto">
            <a:xfrm>
              <a:off x="533" y="98"/>
              <a:ext cx="58" cy="1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600"/>
                <a:gd name="T19" fmla="*/ 0 h 21600"/>
                <a:gd name="T20" fmla="*/ 21600 w 21600"/>
                <a:gd name="T21" fmla="*/ 21600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0" y="21600"/>
                  </a:moveTo>
                  <a:lnTo>
                    <a:pt x="870" y="0"/>
                  </a:lnTo>
                  <a:lnTo>
                    <a:pt x="21600" y="0"/>
                  </a:lnTo>
                  <a:lnTo>
                    <a:pt x="20730" y="21600"/>
                  </a:lnTo>
                  <a:lnTo>
                    <a:pt x="0" y="21600"/>
                  </a:lnTo>
                  <a:close/>
                  <a:moveTo>
                    <a:pt x="0" y="21600"/>
                  </a:moveTo>
                </a:path>
              </a:pathLst>
            </a:custGeom>
            <a:solidFill>
              <a:srgbClr val="7DFE9D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_tradnl" sz="1662" kern="0">
                <a:solidFill>
                  <a:sysClr val="windowText" lastClr="000000"/>
                </a:solidFill>
                <a:latin typeface="Trebuchet MS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3848111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532490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532" y="2224800"/>
            <a:ext cx="4168789" cy="36072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lnSpc>
                <a:spcPct val="100000"/>
              </a:lnSpc>
              <a:defRPr lang="pt-BR" altLang="en-US" sz="2031" dirty="0">
                <a:solidFill>
                  <a:schemeClr val="tx1"/>
                </a:solidFill>
                <a:latin typeface="+mj-lt"/>
                <a:ea typeface="+mn-ea"/>
              </a:defRPr>
            </a:lvl1pPr>
          </a:lstStyle>
          <a:p>
            <a:pPr lvl="0" indent="0">
              <a:lnSpc>
                <a:spcPct val="140000"/>
              </a:lnSpc>
              <a:spcBef>
                <a:spcPts val="0"/>
              </a:spcBef>
              <a:buFont typeface="Wingdings" pitchFamily="2" charset="2"/>
            </a:pPr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18773" y="2224800"/>
            <a:ext cx="4168789" cy="360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>
              <a:lnSpc>
                <a:spcPct val="100000"/>
              </a:lnSpc>
              <a:defRPr lang="es-ES_tradnl" sz="2031" b="1" baseline="0" dirty="0">
                <a:latin typeface="+mj-lt"/>
                <a:sym typeface="Trebuchet MS" pitchFamily="34" charset="0"/>
              </a:defRPr>
            </a:lvl1pPr>
          </a:lstStyle>
          <a:p>
            <a:pPr marL="0" lvl="0" indent="0">
              <a:lnSpc>
                <a:spcPct val="140000"/>
              </a:lnSpc>
              <a:spcBef>
                <a:spcPts val="0"/>
              </a:spcBef>
              <a:buFont typeface="Wingdings" pitchFamily="2" charset="2"/>
              <a:buNone/>
              <a:tabLst/>
            </a:pPr>
            <a:r>
              <a:rPr lang="en-GB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77336403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6" y="6464196"/>
            <a:ext cx="279065" cy="292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923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 fontAlgn="auto" hangingPunct="1">
              <a:spcBef>
                <a:spcPts val="0"/>
              </a:spcBef>
              <a:spcAft>
                <a:spcPts val="0"/>
              </a:spcAft>
            </a:pPr>
            <a:fld id="{9D9F8B9A-560A-470D-9EA6-79F5999904E6}" type="slidenum">
              <a:rPr lang="en-GB" smtClean="0">
                <a:cs typeface="Arial" panose="020B0604020202020204" pitchFamily="34" charset="0"/>
              </a:rPr>
              <a:pPr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GB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598587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1261180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7030806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66" indent="0" algn="ctr">
              <a:buNone/>
              <a:defRPr/>
            </a:lvl2pPr>
            <a:lvl3pPr marL="914333" indent="0" algn="ctr">
              <a:buNone/>
              <a:defRPr/>
            </a:lvl3pPr>
            <a:lvl4pPr marL="1371499" indent="0" algn="ctr">
              <a:buNone/>
              <a:defRPr/>
            </a:lvl4pPr>
            <a:lvl5pPr marL="1828666" indent="0" algn="ctr">
              <a:buNone/>
              <a:defRPr/>
            </a:lvl5pPr>
            <a:lvl6pPr marL="2285832" indent="0" algn="ctr">
              <a:buNone/>
              <a:defRPr/>
            </a:lvl6pPr>
            <a:lvl7pPr marL="2742998" indent="0" algn="ctr">
              <a:buNone/>
              <a:defRPr/>
            </a:lvl7pPr>
            <a:lvl8pPr marL="3200164" indent="0" algn="ctr">
              <a:buNone/>
              <a:defRPr/>
            </a:lvl8pPr>
            <a:lvl9pPr marL="3657331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87926686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4006910884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66" indent="0">
              <a:buNone/>
              <a:defRPr sz="1800"/>
            </a:lvl2pPr>
            <a:lvl3pPr marL="914333" indent="0">
              <a:buNone/>
              <a:defRPr sz="1600"/>
            </a:lvl3pPr>
            <a:lvl4pPr marL="1371499" indent="0">
              <a:buNone/>
              <a:defRPr sz="1400"/>
            </a:lvl4pPr>
            <a:lvl5pPr marL="1828666" indent="0">
              <a:buNone/>
              <a:defRPr sz="1400"/>
            </a:lvl5pPr>
            <a:lvl6pPr marL="2285832" indent="0">
              <a:buNone/>
              <a:defRPr sz="1400"/>
            </a:lvl6pPr>
            <a:lvl7pPr marL="2742998" indent="0">
              <a:buNone/>
              <a:defRPr sz="1400"/>
            </a:lvl7pPr>
            <a:lvl8pPr marL="3200164" indent="0">
              <a:buNone/>
              <a:defRPr sz="1400"/>
            </a:lvl8pPr>
            <a:lvl9pPr marL="3657331" indent="0">
              <a:buNone/>
              <a:defRPr sz="1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0517305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486" y="4800600"/>
            <a:ext cx="5486400" cy="566738"/>
          </a:xfrm>
          <a:prstGeom prst="rect">
            <a:avLst/>
          </a:prstGeom>
        </p:spPr>
        <p:txBody>
          <a:bodyPr lIns="38405" tIns="19202" rIns="38405" bIns="19202" anchor="b"/>
          <a:lstStyle>
            <a:lvl1pPr algn="l">
              <a:defRPr sz="800" b="1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486" y="612777"/>
            <a:ext cx="5486400" cy="4114800"/>
          </a:xfrm>
          <a:prstGeom prst="rect">
            <a:avLst/>
          </a:prstGeom>
        </p:spPr>
        <p:txBody>
          <a:bodyPr lIns="38405" tIns="19202" rIns="38405" bIns="19202"/>
          <a:lstStyle>
            <a:lvl1pPr marL="0" indent="0">
              <a:buNone/>
              <a:defRPr sz="1300"/>
            </a:lvl1pPr>
            <a:lvl2pPr marL="192024" indent="0">
              <a:buNone/>
              <a:defRPr sz="1200"/>
            </a:lvl2pPr>
            <a:lvl3pPr marL="384048" indent="0">
              <a:buNone/>
              <a:defRPr sz="1000"/>
            </a:lvl3pPr>
            <a:lvl4pPr marL="576072" indent="0">
              <a:buNone/>
              <a:defRPr sz="800"/>
            </a:lvl4pPr>
            <a:lvl5pPr marL="768096" indent="0">
              <a:buNone/>
              <a:defRPr sz="800"/>
            </a:lvl5pPr>
            <a:lvl6pPr marL="960120" indent="0">
              <a:buNone/>
              <a:defRPr sz="800"/>
            </a:lvl6pPr>
            <a:lvl7pPr marL="1152144" indent="0">
              <a:buNone/>
              <a:defRPr sz="800"/>
            </a:lvl7pPr>
            <a:lvl8pPr marL="1344168" indent="0">
              <a:buNone/>
              <a:defRPr sz="800"/>
            </a:lvl8pPr>
            <a:lvl9pPr marL="1536192" indent="0">
              <a:buNone/>
              <a:defRPr sz="800"/>
            </a:lvl9pPr>
          </a:lstStyle>
          <a:p>
            <a:pPr lvl="0"/>
            <a:endParaRPr lang="es-ES_tradnl" noProof="0">
              <a:sym typeface="Helvetica" charset="0"/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486" y="5367339"/>
            <a:ext cx="5486400" cy="804864"/>
          </a:xfrm>
          <a:prstGeom prst="rect">
            <a:avLst/>
          </a:prstGeom>
        </p:spPr>
        <p:txBody>
          <a:bodyPr lIns="38405" tIns="19202" rIns="38405" bIns="19202"/>
          <a:lstStyle>
            <a:lvl1pPr marL="0" indent="0">
              <a:buNone/>
              <a:defRPr sz="600"/>
            </a:lvl1pPr>
            <a:lvl2pPr marL="192024" indent="0">
              <a:buNone/>
              <a:defRPr sz="500"/>
            </a:lvl2pPr>
            <a:lvl3pPr marL="384048" indent="0">
              <a:buNone/>
              <a:defRPr sz="400"/>
            </a:lvl3pPr>
            <a:lvl4pPr marL="576072" indent="0">
              <a:buNone/>
              <a:defRPr sz="400"/>
            </a:lvl4pPr>
            <a:lvl5pPr marL="768096" indent="0">
              <a:buNone/>
              <a:defRPr sz="400"/>
            </a:lvl5pPr>
            <a:lvl6pPr marL="960120" indent="0">
              <a:buNone/>
              <a:defRPr sz="400"/>
            </a:lvl6pPr>
            <a:lvl7pPr marL="1152144" indent="0">
              <a:buNone/>
              <a:defRPr sz="400"/>
            </a:lvl7pPr>
            <a:lvl8pPr marL="1344168" indent="0">
              <a:buNone/>
              <a:defRPr sz="400"/>
            </a:lvl8pPr>
            <a:lvl9pPr marL="1536192" indent="0">
              <a:buNone/>
              <a:defRPr sz="4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65378973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830547396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9" indent="0">
              <a:buNone/>
              <a:defRPr sz="1600" b="1"/>
            </a:lvl4pPr>
            <a:lvl5pPr marL="1828666" indent="0">
              <a:buNone/>
              <a:defRPr sz="1600" b="1"/>
            </a:lvl5pPr>
            <a:lvl6pPr marL="2285832" indent="0">
              <a:buNone/>
              <a:defRPr sz="1600" b="1"/>
            </a:lvl6pPr>
            <a:lvl7pPr marL="2742998" indent="0">
              <a:buNone/>
              <a:defRPr sz="1600" b="1"/>
            </a:lvl7pPr>
            <a:lvl8pPr marL="3200164" indent="0">
              <a:buNone/>
              <a:defRPr sz="1600" b="1"/>
            </a:lvl8pPr>
            <a:lvl9pPr marL="3657331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9" indent="0">
              <a:buNone/>
              <a:defRPr sz="1600" b="1"/>
            </a:lvl4pPr>
            <a:lvl5pPr marL="1828666" indent="0">
              <a:buNone/>
              <a:defRPr sz="1600" b="1"/>
            </a:lvl5pPr>
            <a:lvl6pPr marL="2285832" indent="0">
              <a:buNone/>
              <a:defRPr sz="1600" b="1"/>
            </a:lvl6pPr>
            <a:lvl7pPr marL="2742998" indent="0">
              <a:buNone/>
              <a:defRPr sz="1600" b="1"/>
            </a:lvl7pPr>
            <a:lvl8pPr marL="3200164" indent="0">
              <a:buNone/>
              <a:defRPr sz="1600" b="1"/>
            </a:lvl8pPr>
            <a:lvl9pPr marL="3657331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30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764913553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301543037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4449232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2" y="273052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2"/>
          </a:xfrm>
        </p:spPr>
        <p:txBody>
          <a:bodyPr/>
          <a:lstStyle>
            <a:lvl1pPr marL="0" indent="0">
              <a:buNone/>
              <a:defRPr sz="1400"/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9" indent="0">
              <a:buNone/>
              <a:defRPr sz="900"/>
            </a:lvl4pPr>
            <a:lvl5pPr marL="1828666" indent="0">
              <a:buNone/>
              <a:defRPr sz="900"/>
            </a:lvl5pPr>
            <a:lvl6pPr marL="2285832" indent="0">
              <a:buNone/>
              <a:defRPr sz="900"/>
            </a:lvl6pPr>
            <a:lvl7pPr marL="2742998" indent="0">
              <a:buNone/>
              <a:defRPr sz="900"/>
            </a:lvl7pPr>
            <a:lvl8pPr marL="3200164" indent="0">
              <a:buNone/>
              <a:defRPr sz="900"/>
            </a:lvl8pPr>
            <a:lvl9pPr marL="3657331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76291706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7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66" indent="0">
              <a:buNone/>
              <a:defRPr sz="2800"/>
            </a:lvl2pPr>
            <a:lvl3pPr marL="914333" indent="0">
              <a:buNone/>
              <a:defRPr sz="2400"/>
            </a:lvl3pPr>
            <a:lvl4pPr marL="1371499" indent="0">
              <a:buNone/>
              <a:defRPr sz="2000"/>
            </a:lvl4pPr>
            <a:lvl5pPr marL="1828666" indent="0">
              <a:buNone/>
              <a:defRPr sz="2000"/>
            </a:lvl5pPr>
            <a:lvl6pPr marL="2285832" indent="0">
              <a:buNone/>
              <a:defRPr sz="2000"/>
            </a:lvl6pPr>
            <a:lvl7pPr marL="2742998" indent="0">
              <a:buNone/>
              <a:defRPr sz="2000"/>
            </a:lvl7pPr>
            <a:lvl8pPr marL="3200164" indent="0">
              <a:buNone/>
              <a:defRPr sz="2000"/>
            </a:lvl8pPr>
            <a:lvl9pPr marL="3657331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9" indent="0">
              <a:buNone/>
              <a:defRPr sz="900"/>
            </a:lvl4pPr>
            <a:lvl5pPr marL="1828666" indent="0">
              <a:buNone/>
              <a:defRPr sz="900"/>
            </a:lvl5pPr>
            <a:lvl6pPr marL="2285832" indent="0">
              <a:buNone/>
              <a:defRPr sz="900"/>
            </a:lvl6pPr>
            <a:lvl7pPr marL="2742998" indent="0">
              <a:buNone/>
              <a:defRPr sz="900"/>
            </a:lvl7pPr>
            <a:lvl8pPr marL="3200164" indent="0">
              <a:buNone/>
              <a:defRPr sz="900"/>
            </a:lvl8pPr>
            <a:lvl9pPr marL="3657331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012320373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653622240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15118" y="115888"/>
            <a:ext cx="2071687" cy="601027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95288" y="115888"/>
            <a:ext cx="6067425" cy="601027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959373141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4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923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fld id="{9D9F8B9A-560A-470D-9EA6-79F5999904E6}" type="slidenum">
              <a:rPr lang="en-GB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0553071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9F8B9A-560A-470D-9EA6-79F5999904E6}" type="slidenum">
              <a:rPr/>
              <a:pPr/>
              <a:t>‹Nº›</a:t>
            </a:fld>
            <a:endParaRPr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460432" y="2"/>
            <a:ext cx="683568" cy="836612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dirty="0"/>
              <a:t>Nº</a:t>
            </a:r>
            <a:endParaRPr lang="en-GB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 flipH="1">
            <a:off x="0" y="2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lvl="0"/>
            <a:r>
              <a:rPr lang="en-GB" dirty="0"/>
              <a:t>Titular de la </a:t>
            </a:r>
            <a:r>
              <a:rPr lang="en-GB" dirty="0" err="1"/>
              <a:t>diapositiva</a:t>
            </a:r>
            <a:r>
              <a:rPr lang="en-GB" dirty="0"/>
              <a:t> (24 </a:t>
            </a:r>
            <a:r>
              <a:rPr lang="en-GB" dirty="0" err="1"/>
              <a:t>puntos</a:t>
            </a:r>
            <a:r>
              <a:rPr lang="en-GB" dirty="0"/>
              <a:t> – 1 </a:t>
            </a:r>
            <a:r>
              <a:rPr lang="en-GB" dirty="0" err="1"/>
              <a:t>línea</a:t>
            </a:r>
            <a:r>
              <a:rPr lang="en-GB" dirty="0"/>
              <a:t>)</a:t>
            </a:r>
            <a:endParaRPr lang="en-US" sz="2215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79987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1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image" Target="../media/image8.pn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5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4" Type="http://schemas.openxmlformats.org/officeDocument/2006/relationships/image" Target="../media/image1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34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image" Target="../media/image12.emf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75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image" Target="../media/image6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 descr="image23.pn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t="212" r="52899" b="52769"/>
          <a:stretch>
            <a:fillRect/>
          </a:stretch>
        </p:blipFill>
        <p:spPr bwMode="auto">
          <a:xfrm>
            <a:off x="-31750" y="-47625"/>
            <a:ext cx="9205913" cy="690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7" name="Picture 3" descr="image2.png"/>
          <p:cNvPicPr>
            <a:picLocks noChangeAspect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15011400" y="8569327"/>
            <a:ext cx="1023938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37741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18" r:id="rId14"/>
    <p:sldLayoutId id="2147483719" r:id="rId15"/>
    <p:sldLayoutId id="2147483869" r:id="rId16"/>
  </p:sldLayoutIdLst>
  <p:transition/>
  <p:hf hdr="0" ftr="0" dt="0"/>
  <p:txStyles>
    <p:titleStyle>
      <a:lvl1pPr algn="l" defTabSz="190500" rtl="0" eaLnBrk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+mj-lt"/>
          <a:ea typeface="+mj-ea"/>
          <a:cs typeface="+mj-cs"/>
          <a:sym typeface="Helvetica" charset="0"/>
        </a:defRPr>
      </a:lvl1pPr>
      <a:lvl2pPr algn="l" defTabSz="190500" rtl="0" eaLnBrk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Helvetica" charset="0"/>
          <a:ea typeface="Helvetica" charset="0"/>
          <a:cs typeface="Helvetica" charset="0"/>
          <a:sym typeface="Helvetica" charset="0"/>
        </a:defRPr>
      </a:lvl2pPr>
      <a:lvl3pPr algn="l" defTabSz="190500" rtl="0" eaLnBrk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Helvetica" charset="0"/>
          <a:ea typeface="Helvetica" charset="0"/>
          <a:cs typeface="Helvetica" charset="0"/>
          <a:sym typeface="Helvetica" charset="0"/>
        </a:defRPr>
      </a:lvl3pPr>
      <a:lvl4pPr algn="l" defTabSz="190500" rtl="0" eaLnBrk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Helvetica" charset="0"/>
          <a:ea typeface="Helvetica" charset="0"/>
          <a:cs typeface="Helvetica" charset="0"/>
          <a:sym typeface="Helvetica" charset="0"/>
        </a:defRPr>
      </a:lvl4pPr>
      <a:lvl5pPr algn="l" defTabSz="190500" rtl="0" eaLnBrk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Helvetica" charset="0"/>
          <a:ea typeface="Helvetica" charset="0"/>
          <a:cs typeface="Helvetica" charset="0"/>
          <a:sym typeface="Helvetica" charset="0"/>
        </a:defRPr>
      </a:lvl5pPr>
      <a:lvl6pPr marL="192024" algn="l" defTabSz="192024" rtl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Helvetica" charset="0"/>
          <a:ea typeface="Helvetica" charset="0"/>
          <a:cs typeface="Helvetica" charset="0"/>
          <a:sym typeface="Helvetica" charset="0"/>
        </a:defRPr>
      </a:lvl6pPr>
      <a:lvl7pPr marL="384048" algn="l" defTabSz="192024" rtl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Helvetica" charset="0"/>
          <a:ea typeface="Helvetica" charset="0"/>
          <a:cs typeface="Helvetica" charset="0"/>
          <a:sym typeface="Helvetica" charset="0"/>
        </a:defRPr>
      </a:lvl7pPr>
      <a:lvl8pPr marL="576072" algn="l" defTabSz="192024" rtl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Helvetica" charset="0"/>
          <a:ea typeface="Helvetica" charset="0"/>
          <a:cs typeface="Helvetica" charset="0"/>
          <a:sym typeface="Helvetica" charset="0"/>
        </a:defRPr>
      </a:lvl8pPr>
      <a:lvl9pPr marL="768096" algn="l" defTabSz="192024" rtl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Helvetica" charset="0"/>
          <a:ea typeface="Helvetica" charset="0"/>
          <a:cs typeface="Helvetica" charset="0"/>
          <a:sym typeface="Helvetica" charset="0"/>
        </a:defRPr>
      </a:lvl9pPr>
    </p:titleStyle>
    <p:bodyStyle>
      <a:lvl1pPr marL="142875" indent="-142875" algn="l" defTabSz="190500" rtl="0" eaLnBrk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+mn-lt"/>
          <a:ea typeface="+mn-ea"/>
          <a:cs typeface="+mn-cs"/>
          <a:sym typeface="Helvetica" charset="0"/>
        </a:defRPr>
      </a:lvl1pPr>
      <a:lvl2pPr marL="95250" indent="95250" algn="l" defTabSz="190500" rtl="0" eaLnBrk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+mn-lt"/>
          <a:ea typeface="+mn-ea"/>
          <a:cs typeface="+mn-cs"/>
          <a:sym typeface="Helvetica" charset="0"/>
        </a:defRPr>
      </a:lvl2pPr>
      <a:lvl3pPr marL="190500" indent="190500" algn="l" defTabSz="190500" rtl="0" eaLnBrk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+mn-lt"/>
          <a:ea typeface="+mn-ea"/>
          <a:cs typeface="+mn-cs"/>
          <a:sym typeface="Helvetica" charset="0"/>
        </a:defRPr>
      </a:lvl3pPr>
      <a:lvl4pPr marL="287338" indent="287338" algn="l" defTabSz="190500" rtl="0" eaLnBrk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+mn-lt"/>
          <a:ea typeface="+mn-ea"/>
          <a:cs typeface="+mn-cs"/>
          <a:sym typeface="Helvetica" charset="0"/>
        </a:defRPr>
      </a:lvl4pPr>
      <a:lvl5pPr marL="382588" indent="382588" algn="l" defTabSz="190500" rtl="0" eaLnBrk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+mn-lt"/>
          <a:ea typeface="+mn-ea"/>
          <a:cs typeface="+mn-cs"/>
          <a:sym typeface="Helvetica" charset="0"/>
        </a:defRPr>
      </a:lvl5pPr>
      <a:lvl6pPr marL="576072" algn="l" defTabSz="192024" rtl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+mn-lt"/>
          <a:ea typeface="+mn-ea"/>
          <a:cs typeface="+mn-cs"/>
          <a:sym typeface="Helvetica" charset="0"/>
        </a:defRPr>
      </a:lvl6pPr>
      <a:lvl7pPr marL="768096" algn="l" defTabSz="192024" rtl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+mn-lt"/>
          <a:ea typeface="+mn-ea"/>
          <a:cs typeface="+mn-cs"/>
          <a:sym typeface="Helvetica" charset="0"/>
        </a:defRPr>
      </a:lvl7pPr>
      <a:lvl8pPr marL="960120" algn="l" defTabSz="192024" rtl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+mn-lt"/>
          <a:ea typeface="+mn-ea"/>
          <a:cs typeface="+mn-cs"/>
          <a:sym typeface="Helvetica" charset="0"/>
        </a:defRPr>
      </a:lvl8pPr>
      <a:lvl9pPr marL="1152144" algn="l" defTabSz="192024" rtl="0" fontAlgn="base" hangingPunct="0">
        <a:spcBef>
          <a:spcPct val="0"/>
        </a:spcBef>
        <a:spcAft>
          <a:spcPct val="0"/>
        </a:spcAft>
        <a:defRPr sz="600">
          <a:solidFill>
            <a:srgbClr val="000000"/>
          </a:solidFill>
          <a:latin typeface="+mn-lt"/>
          <a:ea typeface="+mn-ea"/>
          <a:cs typeface="+mn-cs"/>
          <a:sym typeface="Helvetica" charset="0"/>
        </a:defRPr>
      </a:lvl9pPr>
    </p:bodyStyle>
    <p:otherStyle>
      <a:defPPr>
        <a:defRPr lang="es-ES_tradnl"/>
      </a:defPPr>
      <a:lvl1pPr marL="0" algn="l" defTabSz="384048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1pPr>
      <a:lvl2pPr marL="192024" algn="l" defTabSz="384048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2pPr>
      <a:lvl3pPr marL="384048" algn="l" defTabSz="384048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72" algn="l" defTabSz="384048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768096" algn="l" defTabSz="384048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960120" algn="l" defTabSz="384048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1152144" algn="l" defTabSz="384048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1344168" algn="l" defTabSz="384048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1536192" algn="l" defTabSz="384048" rtl="0" eaLnBrk="1" latinLnBrk="0" hangingPunct="1"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15891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3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28" name="AutoShape 10"/>
          <p:cNvSpPr>
            <a:spLocks/>
          </p:cNvSpPr>
          <p:nvPr/>
        </p:nvSpPr>
        <p:spPr bwMode="auto">
          <a:xfrm>
            <a:off x="4343400" y="6400802"/>
            <a:ext cx="457200" cy="254000"/>
          </a:xfrm>
          <a:prstGeom prst="roundRect">
            <a:avLst>
              <a:gd name="adj" fmla="val 50000"/>
            </a:avLst>
          </a:prstGeom>
          <a:noFill/>
          <a:ln w="19050" cap="rnd">
            <a:solidFill>
              <a:srgbClr val="44B5CA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hangingPunct="1"/>
            <a:endParaRPr lang="es-ES" sz="28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sp>
        <p:nvSpPr>
          <p:cNvPr id="1029" name="Rectangle 3"/>
          <p:cNvSpPr>
            <a:spLocks/>
          </p:cNvSpPr>
          <p:nvPr/>
        </p:nvSpPr>
        <p:spPr bwMode="auto">
          <a:xfrm>
            <a:off x="4448571" y="6445253"/>
            <a:ext cx="246862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hangingPunct="1"/>
            <a:fld id="{C017C531-DF14-48E4-8391-5A817F170197}" type="slidenum">
              <a:rPr lang="en-US" sz="1100">
                <a:solidFill>
                  <a:srgbClr val="003F52"/>
                </a:solidFill>
                <a:latin typeface="Arial" pitchFamily="34" charset="0"/>
                <a:ea typeface="MS PGothic" pitchFamily="34" charset="-128"/>
                <a:sym typeface="Arial" pitchFamily="34" charset="0"/>
              </a:rPr>
              <a:pPr algn="ctr" hangingPunct="1"/>
              <a:t>‹Nº›</a:t>
            </a:fld>
            <a:endParaRPr lang="en-US" sz="1100">
              <a:solidFill>
                <a:srgbClr val="003F52"/>
              </a:solidFill>
              <a:latin typeface="Arial" pitchFamily="34" charset="0"/>
              <a:ea typeface="MS PGothic" pitchFamily="34" charset="-128"/>
              <a:sym typeface="Arial" pitchFamily="34" charset="0"/>
            </a:endParaRPr>
          </a:p>
        </p:txBody>
      </p:sp>
      <p:pic>
        <p:nvPicPr>
          <p:cNvPr id="1030" name="Picture 1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2900" y="6399217"/>
            <a:ext cx="10160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Rectangle 12"/>
          <p:cNvSpPr>
            <a:spLocks/>
          </p:cNvSpPr>
          <p:nvPr/>
        </p:nvSpPr>
        <p:spPr bwMode="auto">
          <a:xfrm>
            <a:off x="128589" y="6371222"/>
            <a:ext cx="83356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hangingPunct="1"/>
            <a:r>
              <a:rPr lang="en-US" sz="1100">
                <a:solidFill>
                  <a:srgbClr val="162E3E"/>
                </a:solidFill>
                <a:latin typeface="Arial Bold"/>
                <a:ea typeface="MS PGothic" pitchFamily="34" charset="-128"/>
                <a:sym typeface="Arial Bold"/>
              </a:rPr>
              <a:t>Area</a:t>
            </a:r>
          </a:p>
          <a:p>
            <a:pPr hangingPunct="1"/>
            <a:r>
              <a:rPr lang="en-US" sz="1100">
                <a:solidFill>
                  <a:srgbClr val="162E3E"/>
                </a:solidFill>
                <a:latin typeface="Arial" pitchFamily="34" charset="0"/>
                <a:ea typeface="MS PGothic" pitchFamily="34" charset="-128"/>
                <a:sym typeface="Arial" pitchFamily="34" charset="0"/>
              </a:rPr>
              <a:t>Razón Social</a:t>
            </a:r>
          </a:p>
        </p:txBody>
      </p:sp>
      <p:pic>
        <p:nvPicPr>
          <p:cNvPr id="1032" name="Picture 14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0" y="6197603"/>
            <a:ext cx="8763000" cy="36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1"/>
          <p:cNvSpPr>
            <a:spLocks/>
          </p:cNvSpPr>
          <p:nvPr/>
        </p:nvSpPr>
        <p:spPr bwMode="auto">
          <a:xfrm>
            <a:off x="0" y="2"/>
            <a:ext cx="368300" cy="647700"/>
          </a:xfrm>
          <a:prstGeom prst="rect">
            <a:avLst/>
          </a:prstGeom>
          <a:gradFill rotWithShape="0">
            <a:gsLst>
              <a:gs pos="0">
                <a:srgbClr val="0A1519"/>
              </a:gs>
              <a:gs pos="100000">
                <a:srgbClr val="2A5E77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" sz="2800">
              <a:solidFill>
                <a:srgbClr val="000000"/>
              </a:solidFill>
              <a:latin typeface="Arial" pitchFamily="34" charset="0"/>
              <a:cs typeface="Arial" pitchFamily="34" charset="0"/>
              <a:sym typeface="Gill Sans" pitchFamily="34" charset="0"/>
            </a:endParaRPr>
          </a:p>
        </p:txBody>
      </p:sp>
      <p:sp>
        <p:nvSpPr>
          <p:cNvPr id="10" name="Rectangle 1"/>
          <p:cNvSpPr>
            <a:spLocks/>
          </p:cNvSpPr>
          <p:nvPr/>
        </p:nvSpPr>
        <p:spPr bwMode="auto">
          <a:xfrm>
            <a:off x="-12700" y="-25028"/>
            <a:ext cx="9188450" cy="6941432"/>
          </a:xfrm>
          <a:prstGeom prst="rect">
            <a:avLst/>
          </a:prstGeom>
          <a:gradFill rotWithShape="0">
            <a:gsLst>
              <a:gs pos="0">
                <a:srgbClr val="1C6793"/>
              </a:gs>
              <a:gs pos="100000">
                <a:srgbClr val="092432"/>
              </a:gs>
            </a:gsLst>
            <a:path path="rect">
              <a:fillToRect l="49054" t="14149" r="50946" b="85851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_tradnl" sz="47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sp>
        <p:nvSpPr>
          <p:cNvPr id="11" name="AutoShape 2"/>
          <p:cNvSpPr>
            <a:spLocks/>
          </p:cNvSpPr>
          <p:nvPr/>
        </p:nvSpPr>
        <p:spPr bwMode="auto">
          <a:xfrm>
            <a:off x="95250" y="-4172"/>
            <a:ext cx="5422900" cy="892708"/>
          </a:xfrm>
          <a:prstGeom prst="roundRect">
            <a:avLst>
              <a:gd name="adj" fmla="val 0"/>
            </a:avLst>
          </a:prstGeom>
          <a:gradFill rotWithShape="0">
            <a:gsLst>
              <a:gs pos="0">
                <a:srgbClr val="122E41">
                  <a:alpha val="23000"/>
                </a:srgbClr>
              </a:gs>
              <a:gs pos="100000">
                <a:srgbClr val="122E41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>
                    <a:alpha val="23137"/>
                  </a:srgbClr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_tradnl" sz="47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4200" y="6414775"/>
            <a:ext cx="79375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Line 4"/>
          <p:cNvSpPr>
            <a:spLocks noChangeShapeType="1"/>
          </p:cNvSpPr>
          <p:nvPr/>
        </p:nvSpPr>
        <p:spPr bwMode="auto">
          <a:xfrm>
            <a:off x="-50797" y="6248956"/>
            <a:ext cx="9230519" cy="0"/>
          </a:xfrm>
          <a:prstGeom prst="line">
            <a:avLst/>
          </a:prstGeom>
          <a:noFill/>
          <a:ln w="25400" cap="rnd">
            <a:solidFill>
              <a:srgbClr val="FFFFFF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0" tIns="0" rIns="0" bIns="0"/>
          <a:lstStyle/>
          <a:p>
            <a:pPr algn="ctr" hangingPunct="1"/>
            <a:endParaRPr lang="es-ES" sz="47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sp>
        <p:nvSpPr>
          <p:cNvPr id="14" name="AutoShape 5"/>
          <p:cNvSpPr>
            <a:spLocks/>
          </p:cNvSpPr>
          <p:nvPr/>
        </p:nvSpPr>
        <p:spPr bwMode="auto">
          <a:xfrm>
            <a:off x="0" y="-4172"/>
            <a:ext cx="95250" cy="892708"/>
          </a:xfrm>
          <a:prstGeom prst="roundRect">
            <a:avLst>
              <a:gd name="adj" fmla="val 0"/>
            </a:avLst>
          </a:prstGeom>
          <a:gradFill rotWithShape="0">
            <a:gsLst>
              <a:gs pos="0">
                <a:srgbClr val="7FF6FF"/>
              </a:gs>
              <a:gs pos="54921">
                <a:srgbClr val="2AB9D0"/>
              </a:gs>
              <a:gs pos="100000">
                <a:srgbClr val="006976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5B92AD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_tradnl" sz="47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1971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0" r:id="rId4"/>
    <p:sldLayoutId id="2147483951" r:id="rId5"/>
    <p:sldLayoutId id="2147483952" r:id="rId6"/>
    <p:sldLayoutId id="2147483953" r:id="rId7"/>
    <p:sldLayoutId id="2147483954" r:id="rId8"/>
    <p:sldLayoutId id="2147483955" r:id="rId9"/>
    <p:sldLayoutId id="2147483956" r:id="rId10"/>
    <p:sldLayoutId id="2147483957" r:id="rId11"/>
    <p:sldLayoutId id="2147483958" r:id="rId12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5pPr>
      <a:lvl6pPr marL="457166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6pPr>
      <a:lvl7pPr marL="914333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7pPr>
      <a:lvl8pPr marL="1371499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8pPr>
      <a:lvl9pPr marL="1828666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9pPr>
    </p:titleStyle>
    <p:bodyStyle>
      <a:lvl1pPr marL="342875" indent="-342875" algn="l" rtl="0" eaLnBrk="0" fontAlgn="base" hangingPunct="0">
        <a:spcBef>
          <a:spcPct val="20000"/>
        </a:spcBef>
        <a:spcAft>
          <a:spcPct val="0"/>
        </a:spcAft>
        <a:buClr>
          <a:srgbClr val="00BACF"/>
        </a:buClr>
        <a:buSzPct val="200000"/>
        <a:buChar char="•"/>
        <a:defRPr>
          <a:solidFill>
            <a:srgbClr val="255C81"/>
          </a:solidFill>
          <a:latin typeface="+mn-lt"/>
          <a:ea typeface="+mn-ea"/>
          <a:cs typeface="+mn-cs"/>
        </a:defRPr>
      </a:lvl1pPr>
      <a:lvl2pPr marL="742895" indent="-285729" algn="l" rtl="0" eaLnBrk="0" fontAlgn="base" hangingPunct="0">
        <a:spcBef>
          <a:spcPct val="20000"/>
        </a:spcBef>
        <a:spcAft>
          <a:spcPct val="0"/>
        </a:spcAft>
        <a:buClr>
          <a:srgbClr val="00BACF"/>
        </a:buClr>
        <a:buFont typeface="Wingdings" pitchFamily="2" charset="2"/>
        <a:buChar char="§"/>
        <a:defRPr sz="1600">
          <a:solidFill>
            <a:srgbClr val="255C81"/>
          </a:solidFill>
          <a:latin typeface="+mn-lt"/>
        </a:defRPr>
      </a:lvl2pPr>
      <a:lvl3pPr marL="1142916" indent="-228583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255C81"/>
          </a:solidFill>
          <a:latin typeface="+mn-lt"/>
        </a:defRPr>
      </a:lvl3pPr>
      <a:lvl4pPr marL="1600082" indent="-22858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255C81"/>
          </a:solidFill>
          <a:latin typeface="+mn-lt"/>
        </a:defRPr>
      </a:lvl4pPr>
      <a:lvl5pPr marL="2057248" indent="-22858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5pPr>
      <a:lvl6pPr marL="2514415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6pPr>
      <a:lvl7pPr marL="2971581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7pPr>
      <a:lvl8pPr marL="3428748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8pPr>
      <a:lvl9pPr marL="3885914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9pPr>
    </p:bodyStyle>
    <p:otherStyle>
      <a:defPPr>
        <a:defRPr lang="es-ES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4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1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4425907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281" tIns="45643" rIns="91281" bIns="45643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chemeClr val="accent6"/>
                </a:solidFill>
                <a:latin typeface="Trebuchet MS" pitchFamily="34" charset="0"/>
                <a:ea typeface="ヒラギノ角ゴ ProN W3" pitchFamily="122" charset="-128"/>
                <a:sym typeface="Trebuchet MS" pitchFamily="34" charset="0"/>
              </a:defRPr>
            </a:lvl1pPr>
            <a:lvl2pPr marL="741696" indent="-285267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2pPr>
            <a:lvl3pPr marL="1141068" indent="-228209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3pPr>
            <a:lvl4pPr marL="1597497" indent="-228209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4pPr>
            <a:lvl5pPr marL="2053921" indent="-228209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5pPr>
            <a:lvl6pPr marL="2510345" indent="-228209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6pPr>
            <a:lvl7pPr marL="2966771" indent="-228209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7pPr>
            <a:lvl8pPr marL="3423201" indent="-228209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8pPr>
            <a:lvl9pPr marL="3879624" indent="-228209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9pPr>
          </a:lstStyle>
          <a:p>
            <a:pPr defTabSz="912857" fontAlgn="auto">
              <a:spcBef>
                <a:spcPts val="0"/>
              </a:spcBef>
              <a:spcAft>
                <a:spcPts val="0"/>
              </a:spcAft>
            </a:pPr>
            <a:fld id="{9D9F8B9A-560A-470D-9EA6-79F5999904E6}" type="slidenum">
              <a:rPr lang="en-US" smtClean="0">
                <a:solidFill>
                  <a:srgbClr val="00C6DA"/>
                </a:solidFill>
              </a:rPr>
              <a:pPr defTabSz="91285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 dirty="0">
              <a:solidFill>
                <a:srgbClr val="00C6DA"/>
              </a:solidFill>
            </a:endParaRPr>
          </a:p>
        </p:txBody>
      </p:sp>
      <p:sp>
        <p:nvSpPr>
          <p:cNvPr id="7172" name="Rectangle 13"/>
          <p:cNvSpPr>
            <a:spLocks/>
          </p:cNvSpPr>
          <p:nvPr userDrawn="1"/>
        </p:nvSpPr>
        <p:spPr bwMode="auto">
          <a:xfrm rot="10800000">
            <a:off x="7164320" y="6332538"/>
            <a:ext cx="86457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12857" fontAlgn="auto" hangingPunct="1">
              <a:spcBef>
                <a:spcPts val="0"/>
              </a:spcBef>
              <a:spcAft>
                <a:spcPts val="0"/>
              </a:spcAft>
            </a:pPr>
            <a:endParaRPr lang="es-ES" sz="1800" dirty="0">
              <a:latin typeface="Trebuchet MS"/>
            </a:endParaRPr>
          </a:p>
        </p:txBody>
      </p:sp>
      <p:sp>
        <p:nvSpPr>
          <p:cNvPr id="7173" name="Rectangle 12"/>
          <p:cNvSpPr>
            <a:spLocks/>
          </p:cNvSpPr>
          <p:nvPr userDrawn="1"/>
        </p:nvSpPr>
        <p:spPr bwMode="auto">
          <a:xfrm rot="10800000">
            <a:off x="8015708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12857" fontAlgn="auto" hangingPunct="1">
              <a:spcBef>
                <a:spcPts val="0"/>
              </a:spcBef>
              <a:spcAft>
                <a:spcPts val="0"/>
              </a:spcAft>
            </a:pPr>
            <a:endParaRPr lang="es-ES" sz="1800" dirty="0">
              <a:latin typeface="Trebuchet MS"/>
            </a:endParaRPr>
          </a:p>
        </p:txBody>
      </p:sp>
      <p:sp>
        <p:nvSpPr>
          <p:cNvPr id="7174" name="Rectangle 14"/>
          <p:cNvSpPr>
            <a:spLocks/>
          </p:cNvSpPr>
          <p:nvPr userDrawn="1"/>
        </p:nvSpPr>
        <p:spPr bwMode="auto">
          <a:xfrm rot="10800000">
            <a:off x="6268916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12857" fontAlgn="auto" hangingPunct="1">
              <a:spcBef>
                <a:spcPts val="0"/>
              </a:spcBef>
              <a:spcAft>
                <a:spcPts val="0"/>
              </a:spcAft>
            </a:pPr>
            <a:endParaRPr lang="es-ES" sz="1800" dirty="0">
              <a:latin typeface="Trebuchet MS"/>
            </a:endParaRPr>
          </a:p>
        </p:txBody>
      </p:sp>
      <p:sp>
        <p:nvSpPr>
          <p:cNvPr id="7175" name="Rectangle 15"/>
          <p:cNvSpPr>
            <a:spLocks/>
          </p:cNvSpPr>
          <p:nvPr userDrawn="1"/>
        </p:nvSpPr>
        <p:spPr bwMode="auto">
          <a:xfrm rot="10800000">
            <a:off x="-5854" y="6332538"/>
            <a:ext cx="627477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12857" fontAlgn="auto" hangingPunct="1">
              <a:spcBef>
                <a:spcPts val="0"/>
              </a:spcBef>
              <a:spcAft>
                <a:spcPts val="0"/>
              </a:spcAft>
            </a:pPr>
            <a:endParaRPr lang="es-ES" sz="1800" dirty="0">
              <a:latin typeface="Trebuchet MS"/>
            </a:endParaRPr>
          </a:p>
        </p:txBody>
      </p:sp>
      <p:sp>
        <p:nvSpPr>
          <p:cNvPr id="7176" name="Rectangle 4"/>
          <p:cNvSpPr>
            <a:spLocks/>
          </p:cNvSpPr>
          <p:nvPr userDrawn="1"/>
        </p:nvSpPr>
        <p:spPr bwMode="auto">
          <a:xfrm>
            <a:off x="8417192" y="79"/>
            <a:ext cx="65943" cy="836613"/>
          </a:xfrm>
          <a:prstGeom prst="rect">
            <a:avLst/>
          </a:prstGeom>
          <a:solidFill>
            <a:srgbClr val="003B45"/>
          </a:solidFill>
          <a:ln>
            <a:noFill/>
          </a:ln>
          <a:extLst/>
        </p:spPr>
        <p:txBody>
          <a:bodyPr lIns="0" tIns="0" rIns="0" bIns="0"/>
          <a:lstStyle/>
          <a:p>
            <a:pPr defTabSz="912857" fontAlgn="auto" hangingPunct="1">
              <a:spcBef>
                <a:spcPts val="0"/>
              </a:spcBef>
              <a:spcAft>
                <a:spcPts val="0"/>
              </a:spcAft>
            </a:pPr>
            <a:endParaRPr lang="es-ES" sz="1800" dirty="0">
              <a:latin typeface="Trebuchet MS"/>
            </a:endParaRPr>
          </a:p>
        </p:txBody>
      </p:sp>
      <p:grpSp>
        <p:nvGrpSpPr>
          <p:cNvPr id="7177" name="Agrupar 13"/>
          <p:cNvGrpSpPr>
            <a:grpSpLocks/>
          </p:cNvGrpSpPr>
          <p:nvPr userDrawn="1"/>
        </p:nvGrpSpPr>
        <p:grpSpPr bwMode="auto">
          <a:xfrm flipH="1">
            <a:off x="-5862" y="836613"/>
            <a:ext cx="9144000" cy="49212"/>
            <a:chOff x="-6350" y="6332112"/>
            <a:chExt cx="9906000" cy="49216"/>
          </a:xfrm>
        </p:grpSpPr>
        <p:sp>
          <p:nvSpPr>
            <p:cNvPr id="7179" name="Rectangle 13"/>
            <p:cNvSpPr>
              <a:spLocks/>
            </p:cNvSpPr>
            <p:nvPr userDrawn="1"/>
          </p:nvSpPr>
          <p:spPr bwMode="auto">
            <a:xfrm rot="10800000">
              <a:off x="7761312" y="6332112"/>
              <a:ext cx="936102" cy="49215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912857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ES" sz="1800" dirty="0">
                <a:latin typeface="Trebuchet MS"/>
              </a:endParaRPr>
            </a:p>
          </p:txBody>
        </p:sp>
        <p:sp>
          <p:nvSpPr>
            <p:cNvPr id="7180" name="Rectangle 12"/>
            <p:cNvSpPr>
              <a:spLocks/>
            </p:cNvSpPr>
            <p:nvPr userDrawn="1"/>
          </p:nvSpPr>
          <p:spPr bwMode="auto">
            <a:xfrm rot="10800000">
              <a:off x="8682892" y="6332114"/>
              <a:ext cx="1216758" cy="49148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912857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ES" sz="1800" dirty="0">
                <a:latin typeface="Trebuchet MS"/>
              </a:endParaRPr>
            </a:p>
          </p:txBody>
        </p:sp>
        <p:sp>
          <p:nvSpPr>
            <p:cNvPr id="7181" name="Rectangle 14"/>
            <p:cNvSpPr>
              <a:spLocks/>
            </p:cNvSpPr>
            <p:nvPr userDrawn="1"/>
          </p:nvSpPr>
          <p:spPr bwMode="auto">
            <a:xfrm rot="10800000">
              <a:off x="6791568" y="6332112"/>
              <a:ext cx="969744" cy="49215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912857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ES" sz="1800" dirty="0">
                <a:latin typeface="Trebuchet MS"/>
              </a:endParaRPr>
            </a:p>
          </p:txBody>
        </p:sp>
        <p:sp>
          <p:nvSpPr>
            <p:cNvPr id="7182" name="Rectangle 15"/>
            <p:cNvSpPr>
              <a:spLocks/>
            </p:cNvSpPr>
            <p:nvPr userDrawn="1"/>
          </p:nvSpPr>
          <p:spPr bwMode="auto">
            <a:xfrm rot="10800000">
              <a:off x="-6350" y="6332115"/>
              <a:ext cx="6797675" cy="49213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912857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ES" sz="1800" dirty="0">
                <a:latin typeface="Trebuchet MS"/>
              </a:endParaRPr>
            </a:p>
          </p:txBody>
        </p:sp>
      </p:grpSp>
      <p:sp>
        <p:nvSpPr>
          <p:cNvPr id="25" name="Title Placeholder 1"/>
          <p:cNvSpPr>
            <a:spLocks noGrp="1"/>
          </p:cNvSpPr>
          <p:nvPr>
            <p:ph type="title"/>
          </p:nvPr>
        </p:nvSpPr>
        <p:spPr>
          <a:xfrm flipH="1">
            <a:off x="-1" y="0"/>
            <a:ext cx="8424000" cy="8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lvl="0"/>
            <a:r>
              <a:rPr lang="en-GB" dirty="0"/>
              <a:t>Titular de la </a:t>
            </a:r>
            <a:r>
              <a:rPr lang="en-GB" dirty="0" err="1"/>
              <a:t>diapositiva</a:t>
            </a:r>
            <a:r>
              <a:rPr lang="en-GB" dirty="0"/>
              <a:t> (24 </a:t>
            </a:r>
            <a:r>
              <a:rPr lang="en-GB" dirty="0" err="1"/>
              <a:t>puntos</a:t>
            </a:r>
            <a:r>
              <a:rPr lang="en-GB" dirty="0"/>
              <a:t>)</a:t>
            </a:r>
            <a:endParaRPr lang="en-US" sz="2400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  <p:pic>
        <p:nvPicPr>
          <p:cNvPr id="28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2858" y="6492968"/>
            <a:ext cx="907616" cy="24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22 Rectángulo"/>
          <p:cNvSpPr/>
          <p:nvPr userDrawn="1"/>
        </p:nvSpPr>
        <p:spPr bwMode="auto">
          <a:xfrm>
            <a:off x="0" y="873320"/>
            <a:ext cx="9144000" cy="5472000"/>
          </a:xfrm>
          <a:prstGeom prst="rect">
            <a:avLst/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281" tIns="45643" rIns="91281" bIns="45643" numCol="1" rtlCol="0" anchor="ctr" anchorCtr="0" compatLnSpc="1">
            <a:prstTxWarp prst="textNoShape">
              <a:avLst/>
            </a:prstTxWarp>
          </a:bodyPr>
          <a:lstStyle/>
          <a:p>
            <a:pPr algn="ctr" defTabSz="912857" hangingPunct="1"/>
            <a:endParaRPr lang="en-GB" sz="2000" dirty="0">
              <a:solidFill>
                <a:srgbClr val="003245"/>
              </a:solidFill>
              <a:latin typeface="Trebuchet MS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782539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8" r:id="rId5"/>
  </p:sldLayoutIdLst>
  <p:transition/>
  <p:hf hdr="0" ftr="0" dt="0"/>
  <p:txStyles>
    <p:titleStyle>
      <a:lvl1pPr marL="174326" indent="0" algn="l" rtl="0" eaLnBrk="0" fontAlgn="base" hangingPunct="0">
        <a:spcBef>
          <a:spcPct val="0"/>
        </a:spcBef>
        <a:spcAft>
          <a:spcPct val="0"/>
        </a:spcAft>
        <a:defRPr lang="en-US" sz="2400" kern="1200" dirty="0">
          <a:solidFill>
            <a:schemeClr val="tx1"/>
          </a:solidFill>
          <a:latin typeface="Trebuchet MS" pitchFamily="34" charset="0"/>
          <a:ea typeface="ヒラギノ角ゴ Pro W3" charset="-128"/>
          <a:cs typeface="+mn-cs"/>
          <a:sym typeface="Trebuchet MS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5pPr>
      <a:lvl6pPr marL="45642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2857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69277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5706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42325" indent="-342325" algn="ctr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1pPr>
      <a:lvl2pPr marL="741696" indent="-285267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2pPr>
      <a:lvl3pPr marL="1141068" indent="-228209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3pPr>
      <a:lvl4pPr marL="1597497" indent="-228209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4pPr>
      <a:lvl5pPr marL="2053921" indent="-228209"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5pPr>
      <a:lvl6pPr marL="45642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2857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69277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5706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64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20" algn="l" defTabSz="4564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57" algn="l" defTabSz="4564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77" algn="l" defTabSz="4564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706" algn="l" defTabSz="4564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136" algn="l" defTabSz="4564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558" algn="l" defTabSz="4564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990" algn="l" defTabSz="4564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414" algn="l" defTabSz="4564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719"/>
          <a:stretch/>
        </p:blipFill>
        <p:spPr>
          <a:xfrm>
            <a:off x="-14721" y="-34571"/>
            <a:ext cx="9195234" cy="6892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414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4802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411092" y="275238"/>
            <a:ext cx="8336102" cy="503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_tradnl"/>
              <a:t>Clic para editar título</a:t>
            </a:r>
            <a:endParaRPr lang="es-ES_tradnl" dirty="0"/>
          </a:p>
        </p:txBody>
      </p:sp>
      <p:sp>
        <p:nvSpPr>
          <p:cNvPr id="844803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9193" y="1821137"/>
            <a:ext cx="8398005" cy="4134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/>
              <a:t>First level bullet</a:t>
            </a:r>
          </a:p>
          <a:p>
            <a:pPr lvl="1"/>
            <a:r>
              <a:rPr lang="es-ES_tradnl"/>
              <a:t>Second level bullet</a:t>
            </a:r>
          </a:p>
          <a:p>
            <a:pPr lvl="2"/>
            <a:r>
              <a:rPr lang="es-ES_tradnl"/>
              <a:t>Third level bullet</a:t>
            </a:r>
          </a:p>
          <a:p>
            <a:pPr lvl="3"/>
            <a:r>
              <a:rPr lang="es-ES_tradnl"/>
              <a:t>Fourth level bullet</a:t>
            </a:r>
          </a:p>
          <a:p>
            <a:pPr lvl="4"/>
            <a:r>
              <a:rPr lang="es-ES_tradnl"/>
              <a:t>[Fifth level bullet not used]</a:t>
            </a:r>
          </a:p>
          <a:p>
            <a:pPr lvl="3"/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670259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</p:sldLayoutIdLst>
  <p:transition/>
  <p:hf hdr="0" ftr="0" dt="0"/>
  <p:txStyles>
    <p:titleStyle>
      <a:lvl1pPr algn="l" defTabSz="457109" rtl="0" eaLnBrk="1" fontAlgn="base" hangingPunct="1">
        <a:spcBef>
          <a:spcPct val="0"/>
        </a:spcBef>
        <a:spcAft>
          <a:spcPct val="0"/>
        </a:spcAft>
        <a:defRPr sz="2799" b="0">
          <a:solidFill>
            <a:srgbClr val="61B8CD"/>
          </a:solidFill>
          <a:latin typeface="Arial"/>
          <a:ea typeface="+mj-ea"/>
          <a:cs typeface="Arial"/>
        </a:defRPr>
      </a:lvl1pPr>
      <a:lvl2pPr algn="l" defTabSz="457109" rtl="0" eaLnBrk="1" fontAlgn="base" hangingPunct="1">
        <a:spcBef>
          <a:spcPct val="0"/>
        </a:spcBef>
        <a:spcAft>
          <a:spcPct val="0"/>
        </a:spcAft>
        <a:defRPr sz="2999" b="1">
          <a:solidFill>
            <a:srgbClr val="61B8CD"/>
          </a:solidFill>
          <a:latin typeface="Telefonica Headline Light" charset="0"/>
          <a:ea typeface="ＭＳ Ｐゴシック" charset="0"/>
          <a:cs typeface="Arial Unicode MS" charset="0"/>
        </a:defRPr>
      </a:lvl2pPr>
      <a:lvl3pPr algn="l" defTabSz="457109" rtl="0" eaLnBrk="1" fontAlgn="base" hangingPunct="1">
        <a:spcBef>
          <a:spcPct val="0"/>
        </a:spcBef>
        <a:spcAft>
          <a:spcPct val="0"/>
        </a:spcAft>
        <a:defRPr sz="2999" b="1">
          <a:solidFill>
            <a:srgbClr val="61B8CD"/>
          </a:solidFill>
          <a:latin typeface="Telefonica Headline Light" charset="0"/>
          <a:ea typeface="ＭＳ Ｐゴシック" charset="0"/>
          <a:cs typeface="Arial Unicode MS" charset="0"/>
        </a:defRPr>
      </a:lvl3pPr>
      <a:lvl4pPr algn="l" defTabSz="457109" rtl="0" eaLnBrk="1" fontAlgn="base" hangingPunct="1">
        <a:spcBef>
          <a:spcPct val="0"/>
        </a:spcBef>
        <a:spcAft>
          <a:spcPct val="0"/>
        </a:spcAft>
        <a:defRPr sz="2999" b="1">
          <a:solidFill>
            <a:srgbClr val="61B8CD"/>
          </a:solidFill>
          <a:latin typeface="Telefonica Headline Light" charset="0"/>
          <a:ea typeface="ＭＳ Ｐゴシック" charset="0"/>
          <a:cs typeface="Arial Unicode MS" charset="0"/>
        </a:defRPr>
      </a:lvl4pPr>
      <a:lvl5pPr algn="l" defTabSz="457109" rtl="0" eaLnBrk="1" fontAlgn="base" hangingPunct="1">
        <a:spcBef>
          <a:spcPct val="0"/>
        </a:spcBef>
        <a:spcAft>
          <a:spcPct val="0"/>
        </a:spcAft>
        <a:defRPr sz="2999" b="1">
          <a:solidFill>
            <a:srgbClr val="61B8CD"/>
          </a:solidFill>
          <a:latin typeface="Telefonica Headline Light" charset="0"/>
          <a:ea typeface="ＭＳ Ｐゴシック" charset="0"/>
          <a:cs typeface="Arial Unicode MS" charset="0"/>
        </a:defRPr>
      </a:lvl5pPr>
      <a:lvl6pPr marL="457109" algn="l" defTabSz="457109" rtl="0" eaLnBrk="1" fontAlgn="base" hangingPunct="1">
        <a:spcBef>
          <a:spcPct val="0"/>
        </a:spcBef>
        <a:spcAft>
          <a:spcPct val="0"/>
        </a:spcAft>
        <a:defRPr sz="2999" b="1">
          <a:solidFill>
            <a:srgbClr val="61B8CD"/>
          </a:solidFill>
          <a:latin typeface="Telefonica Headline Light" charset="0"/>
          <a:ea typeface="ＭＳ Ｐゴシック" charset="0"/>
          <a:cs typeface="Arial Unicode MS" charset="0"/>
        </a:defRPr>
      </a:lvl6pPr>
      <a:lvl7pPr marL="914217" algn="l" defTabSz="457109" rtl="0" eaLnBrk="1" fontAlgn="base" hangingPunct="1">
        <a:spcBef>
          <a:spcPct val="0"/>
        </a:spcBef>
        <a:spcAft>
          <a:spcPct val="0"/>
        </a:spcAft>
        <a:defRPr sz="2999" b="1">
          <a:solidFill>
            <a:srgbClr val="61B8CD"/>
          </a:solidFill>
          <a:latin typeface="Telefonica Headline Light" charset="0"/>
          <a:ea typeface="ＭＳ Ｐゴシック" charset="0"/>
          <a:cs typeface="Arial Unicode MS" charset="0"/>
        </a:defRPr>
      </a:lvl7pPr>
      <a:lvl8pPr marL="1371326" algn="l" defTabSz="457109" rtl="0" eaLnBrk="1" fontAlgn="base" hangingPunct="1">
        <a:spcBef>
          <a:spcPct val="0"/>
        </a:spcBef>
        <a:spcAft>
          <a:spcPct val="0"/>
        </a:spcAft>
        <a:defRPr sz="2999" b="1">
          <a:solidFill>
            <a:srgbClr val="61B8CD"/>
          </a:solidFill>
          <a:latin typeface="Telefonica Headline Light" charset="0"/>
          <a:ea typeface="ＭＳ Ｐゴシック" charset="0"/>
          <a:cs typeface="Arial Unicode MS" charset="0"/>
        </a:defRPr>
      </a:lvl8pPr>
      <a:lvl9pPr marL="1828434" algn="l" defTabSz="457109" rtl="0" eaLnBrk="1" fontAlgn="base" hangingPunct="1">
        <a:spcBef>
          <a:spcPct val="0"/>
        </a:spcBef>
        <a:spcAft>
          <a:spcPct val="0"/>
        </a:spcAft>
        <a:defRPr sz="2999" b="1">
          <a:solidFill>
            <a:srgbClr val="61B8CD"/>
          </a:solidFill>
          <a:latin typeface="Telefonica Headline Light" charset="0"/>
          <a:ea typeface="ＭＳ Ｐゴシック" charset="0"/>
          <a:cs typeface="Arial Unicode MS" charset="0"/>
        </a:defRPr>
      </a:lvl9pPr>
    </p:titleStyle>
    <p:bodyStyle>
      <a:lvl1pPr marL="171416" indent="-171416" algn="just" defTabSz="457109" rtl="0" eaLnBrk="1" fontAlgn="base" hangingPunct="1">
        <a:spcBef>
          <a:spcPct val="0"/>
        </a:spcBef>
        <a:spcAft>
          <a:spcPts val="600"/>
        </a:spcAft>
        <a:buClr>
          <a:srgbClr val="65C3D4"/>
        </a:buClr>
        <a:buSzPct val="150000"/>
        <a:buFont typeface="Arial"/>
        <a:buChar char="•"/>
        <a:defRPr>
          <a:solidFill>
            <a:schemeClr val="tx1"/>
          </a:solidFill>
          <a:latin typeface="Arial"/>
          <a:ea typeface="+mn-ea"/>
          <a:cs typeface="Arial"/>
        </a:defRPr>
      </a:lvl1pPr>
      <a:lvl2pPr marL="536468" indent="-185701" algn="just" defTabSz="457109" rtl="0" eaLnBrk="1" fontAlgn="base" hangingPunct="1">
        <a:spcBef>
          <a:spcPct val="0"/>
        </a:spcBef>
        <a:spcAft>
          <a:spcPts val="600"/>
        </a:spcAft>
        <a:buSzPct val="100000"/>
        <a:buFont typeface="Lucida Grande"/>
        <a:buChar char="‣"/>
        <a:defRPr sz="1600">
          <a:solidFill>
            <a:schemeClr val="tx1"/>
          </a:solidFill>
          <a:latin typeface="Arial"/>
          <a:ea typeface="+mn-ea"/>
          <a:cs typeface="Arial"/>
        </a:defRPr>
      </a:lvl2pPr>
      <a:lvl3pPr marL="899933" indent="-184113" algn="just" defTabSz="457109" rtl="0" eaLnBrk="1" fontAlgn="base" hangingPunct="1">
        <a:spcBef>
          <a:spcPct val="0"/>
        </a:spcBef>
        <a:spcAft>
          <a:spcPts val="600"/>
        </a:spcAft>
        <a:buSzPct val="100000"/>
        <a:buFont typeface="Lucida Grande"/>
        <a:buChar char="‣"/>
        <a:defRPr sz="1400">
          <a:solidFill>
            <a:schemeClr val="tx1"/>
          </a:solidFill>
          <a:latin typeface="Arial"/>
          <a:ea typeface="+mn-ea"/>
          <a:cs typeface="Arial"/>
        </a:defRPr>
      </a:lvl3pPr>
      <a:lvl4pPr marL="1257049" indent="-177764" algn="just" defTabSz="457109" rtl="0" eaLnBrk="1" fontAlgn="base" hangingPunct="1">
        <a:spcBef>
          <a:spcPct val="0"/>
        </a:spcBef>
        <a:spcAft>
          <a:spcPts val="600"/>
        </a:spcAft>
        <a:buSzPct val="100000"/>
        <a:buFont typeface="Lucida Grande"/>
        <a:buChar char="‣"/>
        <a:defRPr sz="1100">
          <a:solidFill>
            <a:schemeClr val="tx1"/>
          </a:solidFill>
          <a:latin typeface="Arial"/>
          <a:ea typeface="+mn-ea"/>
          <a:cs typeface="Arial"/>
        </a:defRPr>
      </a:lvl4pPr>
      <a:lvl5pPr marL="1614165" indent="-177764" algn="just" defTabSz="457109" rtl="0" eaLnBrk="1" fontAlgn="base" hangingPunct="1">
        <a:spcBef>
          <a:spcPct val="0"/>
        </a:spcBef>
        <a:spcAft>
          <a:spcPts val="600"/>
        </a:spcAft>
        <a:buSzPct val="100000"/>
        <a:buFont typeface="Lucida Grande"/>
        <a:buChar char="‣"/>
        <a:defRPr sz="1100">
          <a:solidFill>
            <a:schemeClr val="tx1"/>
          </a:solidFill>
          <a:latin typeface="Arial"/>
          <a:ea typeface="+mn-ea"/>
          <a:cs typeface="Arial"/>
        </a:defRPr>
      </a:lvl5pPr>
      <a:lvl6pPr marL="2071274" indent="-177764" algn="just" defTabSz="457109" rtl="0" eaLnBrk="1" fontAlgn="base" hangingPunct="1">
        <a:spcBef>
          <a:spcPct val="0"/>
        </a:spcBef>
        <a:spcAft>
          <a:spcPts val="600"/>
        </a:spcAft>
        <a:buSzPct val="150000"/>
        <a:buFont typeface="Lucida Grande" charset="0"/>
        <a:buChar char="›"/>
        <a:defRPr sz="1100">
          <a:solidFill>
            <a:schemeClr val="tx1"/>
          </a:solidFill>
          <a:latin typeface="+mn-lt"/>
          <a:ea typeface="+mn-ea"/>
        </a:defRPr>
      </a:lvl6pPr>
      <a:lvl7pPr marL="2528382" indent="-177764" algn="just" defTabSz="457109" rtl="0" eaLnBrk="1" fontAlgn="base" hangingPunct="1">
        <a:spcBef>
          <a:spcPct val="0"/>
        </a:spcBef>
        <a:spcAft>
          <a:spcPts val="600"/>
        </a:spcAft>
        <a:buSzPct val="150000"/>
        <a:buFont typeface="Lucida Grande" charset="0"/>
        <a:buChar char="›"/>
        <a:defRPr sz="1100">
          <a:solidFill>
            <a:schemeClr val="tx1"/>
          </a:solidFill>
          <a:latin typeface="+mn-lt"/>
          <a:ea typeface="+mn-ea"/>
        </a:defRPr>
      </a:lvl7pPr>
      <a:lvl8pPr marL="2985491" indent="-177764" algn="just" defTabSz="457109" rtl="0" eaLnBrk="1" fontAlgn="base" hangingPunct="1">
        <a:spcBef>
          <a:spcPct val="0"/>
        </a:spcBef>
        <a:spcAft>
          <a:spcPts val="600"/>
        </a:spcAft>
        <a:buSzPct val="150000"/>
        <a:buFont typeface="Lucida Grande" charset="0"/>
        <a:buChar char="›"/>
        <a:defRPr sz="1100">
          <a:solidFill>
            <a:schemeClr val="tx1"/>
          </a:solidFill>
          <a:latin typeface="+mn-lt"/>
          <a:ea typeface="+mn-ea"/>
        </a:defRPr>
      </a:lvl8pPr>
      <a:lvl9pPr marL="3442599" indent="-177764" algn="just" defTabSz="457109" rtl="0" eaLnBrk="1" fontAlgn="base" hangingPunct="1">
        <a:spcBef>
          <a:spcPct val="0"/>
        </a:spcBef>
        <a:spcAft>
          <a:spcPts val="600"/>
        </a:spcAft>
        <a:buSzPct val="150000"/>
        <a:buFont typeface="Lucida Grande" charset="0"/>
        <a:buChar char="›"/>
        <a:defRPr sz="11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15899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3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28" name="AutoShape 10"/>
          <p:cNvSpPr>
            <a:spLocks/>
          </p:cNvSpPr>
          <p:nvPr/>
        </p:nvSpPr>
        <p:spPr bwMode="auto">
          <a:xfrm>
            <a:off x="4343400" y="6400803"/>
            <a:ext cx="457200" cy="254000"/>
          </a:xfrm>
          <a:prstGeom prst="roundRect">
            <a:avLst>
              <a:gd name="adj" fmla="val 50000"/>
            </a:avLst>
          </a:prstGeom>
          <a:noFill/>
          <a:ln w="19050" cap="rnd">
            <a:solidFill>
              <a:srgbClr val="44B5CA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hangingPunct="1"/>
            <a:endParaRPr lang="es-ES" sz="28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sp>
        <p:nvSpPr>
          <p:cNvPr id="1029" name="Rectangle 3"/>
          <p:cNvSpPr>
            <a:spLocks/>
          </p:cNvSpPr>
          <p:nvPr/>
        </p:nvSpPr>
        <p:spPr bwMode="auto">
          <a:xfrm>
            <a:off x="4448571" y="6445263"/>
            <a:ext cx="246862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hangingPunct="1"/>
            <a:fld id="{C017C531-DF14-48E4-8391-5A817F170197}" type="slidenum">
              <a:rPr lang="en-US" sz="1100">
                <a:solidFill>
                  <a:srgbClr val="003F52"/>
                </a:solidFill>
                <a:latin typeface="Arial" pitchFamily="34" charset="0"/>
                <a:ea typeface="MS PGothic" pitchFamily="34" charset="-128"/>
                <a:sym typeface="Arial" pitchFamily="34" charset="0"/>
              </a:rPr>
              <a:pPr algn="ctr" hangingPunct="1"/>
              <a:t>‹Nº›</a:t>
            </a:fld>
            <a:endParaRPr lang="en-US" sz="1100">
              <a:solidFill>
                <a:srgbClr val="003F52"/>
              </a:solidFill>
              <a:latin typeface="Arial" pitchFamily="34" charset="0"/>
              <a:ea typeface="MS PGothic" pitchFamily="34" charset="-128"/>
              <a:sym typeface="Arial" pitchFamily="34" charset="0"/>
            </a:endParaRPr>
          </a:p>
        </p:txBody>
      </p:sp>
      <p:pic>
        <p:nvPicPr>
          <p:cNvPr id="1030" name="Picture 11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2900" y="6399219"/>
            <a:ext cx="10160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Rectangle 12"/>
          <p:cNvSpPr>
            <a:spLocks/>
          </p:cNvSpPr>
          <p:nvPr/>
        </p:nvSpPr>
        <p:spPr bwMode="auto">
          <a:xfrm>
            <a:off x="128589" y="6371222"/>
            <a:ext cx="83356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hangingPunct="1"/>
            <a:r>
              <a:rPr lang="en-US" sz="1100">
                <a:solidFill>
                  <a:srgbClr val="162E3E"/>
                </a:solidFill>
                <a:latin typeface="Arial Bold"/>
                <a:ea typeface="MS PGothic" pitchFamily="34" charset="-128"/>
                <a:sym typeface="Arial Bold"/>
              </a:rPr>
              <a:t>Area</a:t>
            </a:r>
          </a:p>
          <a:p>
            <a:pPr hangingPunct="1"/>
            <a:r>
              <a:rPr lang="en-US" sz="1100">
                <a:solidFill>
                  <a:srgbClr val="162E3E"/>
                </a:solidFill>
                <a:latin typeface="Arial" pitchFamily="34" charset="0"/>
                <a:ea typeface="MS PGothic" pitchFamily="34" charset="-128"/>
                <a:sym typeface="Arial" pitchFamily="34" charset="0"/>
              </a:rPr>
              <a:t>Razón Social</a:t>
            </a:r>
          </a:p>
        </p:txBody>
      </p:sp>
      <p:pic>
        <p:nvPicPr>
          <p:cNvPr id="1032" name="Picture 14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0" y="6197601"/>
            <a:ext cx="8763000" cy="36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1"/>
          <p:cNvSpPr>
            <a:spLocks/>
          </p:cNvSpPr>
          <p:nvPr/>
        </p:nvSpPr>
        <p:spPr bwMode="auto">
          <a:xfrm>
            <a:off x="0" y="2"/>
            <a:ext cx="368300" cy="647700"/>
          </a:xfrm>
          <a:prstGeom prst="rect">
            <a:avLst/>
          </a:prstGeom>
          <a:gradFill rotWithShape="0">
            <a:gsLst>
              <a:gs pos="0">
                <a:srgbClr val="0A1519"/>
              </a:gs>
              <a:gs pos="100000">
                <a:srgbClr val="2A5E77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" sz="2800">
              <a:solidFill>
                <a:srgbClr val="000000"/>
              </a:solidFill>
              <a:latin typeface="Arial" pitchFamily="34" charset="0"/>
              <a:cs typeface="Arial" pitchFamily="34" charset="0"/>
              <a:sym typeface="Gill Sans" pitchFamily="34" charset="0"/>
            </a:endParaRPr>
          </a:p>
        </p:txBody>
      </p:sp>
      <p:sp>
        <p:nvSpPr>
          <p:cNvPr id="10" name="Rectangle 1"/>
          <p:cNvSpPr>
            <a:spLocks/>
          </p:cNvSpPr>
          <p:nvPr userDrawn="1"/>
        </p:nvSpPr>
        <p:spPr bwMode="auto">
          <a:xfrm>
            <a:off x="-12700" y="-25025"/>
            <a:ext cx="9188450" cy="6941432"/>
          </a:xfrm>
          <a:prstGeom prst="rect">
            <a:avLst/>
          </a:prstGeom>
          <a:gradFill rotWithShape="0">
            <a:gsLst>
              <a:gs pos="0">
                <a:srgbClr val="1C6793"/>
              </a:gs>
              <a:gs pos="100000">
                <a:srgbClr val="092432"/>
              </a:gs>
            </a:gsLst>
            <a:path path="rect">
              <a:fillToRect l="49054" t="14149" r="50946" b="85851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_tradnl" sz="47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4200" y="6414779"/>
            <a:ext cx="79375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4538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6" r:id="rId12"/>
    <p:sldLayoutId id="2147483991" r:id="rId13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5pPr>
      <a:lvl6pPr marL="457166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6pPr>
      <a:lvl7pPr marL="914333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7pPr>
      <a:lvl8pPr marL="1371499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8pPr>
      <a:lvl9pPr marL="1828666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9pPr>
    </p:titleStyle>
    <p:bodyStyle>
      <a:lvl1pPr marL="342875" indent="-342875" algn="l" rtl="0" eaLnBrk="0" fontAlgn="base" hangingPunct="0">
        <a:spcBef>
          <a:spcPct val="20000"/>
        </a:spcBef>
        <a:spcAft>
          <a:spcPct val="0"/>
        </a:spcAft>
        <a:buClr>
          <a:srgbClr val="00BACF"/>
        </a:buClr>
        <a:buSzPct val="200000"/>
        <a:buChar char="•"/>
        <a:defRPr>
          <a:solidFill>
            <a:srgbClr val="255C81"/>
          </a:solidFill>
          <a:latin typeface="+mn-lt"/>
          <a:ea typeface="+mn-ea"/>
          <a:cs typeface="+mn-cs"/>
        </a:defRPr>
      </a:lvl1pPr>
      <a:lvl2pPr marL="742895" indent="-285729" algn="l" rtl="0" eaLnBrk="0" fontAlgn="base" hangingPunct="0">
        <a:spcBef>
          <a:spcPct val="20000"/>
        </a:spcBef>
        <a:spcAft>
          <a:spcPct val="0"/>
        </a:spcAft>
        <a:buClr>
          <a:srgbClr val="00BACF"/>
        </a:buClr>
        <a:buFont typeface="Wingdings" pitchFamily="2" charset="2"/>
        <a:buChar char="§"/>
        <a:defRPr sz="1600">
          <a:solidFill>
            <a:srgbClr val="255C81"/>
          </a:solidFill>
          <a:latin typeface="+mn-lt"/>
        </a:defRPr>
      </a:lvl2pPr>
      <a:lvl3pPr marL="1142916" indent="-228583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255C81"/>
          </a:solidFill>
          <a:latin typeface="+mn-lt"/>
        </a:defRPr>
      </a:lvl3pPr>
      <a:lvl4pPr marL="1600082" indent="-22858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255C81"/>
          </a:solidFill>
          <a:latin typeface="+mn-lt"/>
        </a:defRPr>
      </a:lvl4pPr>
      <a:lvl5pPr marL="2057248" indent="-22858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5pPr>
      <a:lvl6pPr marL="2514415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6pPr>
      <a:lvl7pPr marL="2971581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7pPr>
      <a:lvl8pPr marL="3428748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8pPr>
      <a:lvl9pPr marL="3885914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9pPr>
    </p:bodyStyle>
    <p:otherStyle>
      <a:defPPr>
        <a:defRPr lang="es-ES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4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1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15899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3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28" name="AutoShape 10"/>
          <p:cNvSpPr>
            <a:spLocks/>
          </p:cNvSpPr>
          <p:nvPr/>
        </p:nvSpPr>
        <p:spPr bwMode="auto">
          <a:xfrm>
            <a:off x="4343400" y="6400803"/>
            <a:ext cx="457200" cy="254000"/>
          </a:xfrm>
          <a:prstGeom prst="roundRect">
            <a:avLst>
              <a:gd name="adj" fmla="val 50000"/>
            </a:avLst>
          </a:prstGeom>
          <a:noFill/>
          <a:ln w="19050" cap="rnd">
            <a:solidFill>
              <a:srgbClr val="44B5CA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hangingPunct="1"/>
            <a:endParaRPr lang="es-ES" sz="28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sp>
        <p:nvSpPr>
          <p:cNvPr id="1029" name="Rectangle 3"/>
          <p:cNvSpPr>
            <a:spLocks/>
          </p:cNvSpPr>
          <p:nvPr/>
        </p:nvSpPr>
        <p:spPr bwMode="auto">
          <a:xfrm>
            <a:off x="4448571" y="6445263"/>
            <a:ext cx="246862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hangingPunct="1"/>
            <a:fld id="{C017C531-DF14-48E4-8391-5A817F170197}" type="slidenum">
              <a:rPr lang="en-US" sz="1100">
                <a:solidFill>
                  <a:srgbClr val="003F52"/>
                </a:solidFill>
                <a:latin typeface="Arial" pitchFamily="34" charset="0"/>
                <a:ea typeface="MS PGothic" pitchFamily="34" charset="-128"/>
                <a:sym typeface="Arial" pitchFamily="34" charset="0"/>
              </a:rPr>
              <a:pPr algn="ctr" hangingPunct="1"/>
              <a:t>‹Nº›</a:t>
            </a:fld>
            <a:endParaRPr lang="en-US" sz="1100">
              <a:solidFill>
                <a:srgbClr val="003F52"/>
              </a:solidFill>
              <a:latin typeface="Arial" pitchFamily="34" charset="0"/>
              <a:ea typeface="MS PGothic" pitchFamily="34" charset="-128"/>
              <a:sym typeface="Arial" pitchFamily="34" charset="0"/>
            </a:endParaRPr>
          </a:p>
        </p:txBody>
      </p:sp>
      <p:pic>
        <p:nvPicPr>
          <p:cNvPr id="1030" name="Picture 11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2900" y="6399219"/>
            <a:ext cx="10160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Rectangle 12"/>
          <p:cNvSpPr>
            <a:spLocks/>
          </p:cNvSpPr>
          <p:nvPr/>
        </p:nvSpPr>
        <p:spPr bwMode="auto">
          <a:xfrm>
            <a:off x="128589" y="6371222"/>
            <a:ext cx="83356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hangingPunct="1"/>
            <a:r>
              <a:rPr lang="en-US" sz="1100">
                <a:solidFill>
                  <a:srgbClr val="162E3E"/>
                </a:solidFill>
                <a:latin typeface="Arial Bold"/>
                <a:ea typeface="MS PGothic" pitchFamily="34" charset="-128"/>
                <a:sym typeface="Arial Bold"/>
              </a:rPr>
              <a:t>Area</a:t>
            </a:r>
          </a:p>
          <a:p>
            <a:pPr hangingPunct="1"/>
            <a:r>
              <a:rPr lang="en-US" sz="1100">
                <a:solidFill>
                  <a:srgbClr val="162E3E"/>
                </a:solidFill>
                <a:latin typeface="Arial" pitchFamily="34" charset="0"/>
                <a:ea typeface="MS PGothic" pitchFamily="34" charset="-128"/>
                <a:sym typeface="Arial" pitchFamily="34" charset="0"/>
              </a:rPr>
              <a:t>Razón Social</a:t>
            </a:r>
          </a:p>
        </p:txBody>
      </p:sp>
      <p:pic>
        <p:nvPicPr>
          <p:cNvPr id="1032" name="Picture 14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0" y="6197601"/>
            <a:ext cx="8763000" cy="36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1"/>
          <p:cNvSpPr>
            <a:spLocks/>
          </p:cNvSpPr>
          <p:nvPr/>
        </p:nvSpPr>
        <p:spPr bwMode="auto">
          <a:xfrm>
            <a:off x="0" y="2"/>
            <a:ext cx="368300" cy="647700"/>
          </a:xfrm>
          <a:prstGeom prst="rect">
            <a:avLst/>
          </a:prstGeom>
          <a:gradFill rotWithShape="0">
            <a:gsLst>
              <a:gs pos="0">
                <a:srgbClr val="0A1519"/>
              </a:gs>
              <a:gs pos="100000">
                <a:srgbClr val="2A5E77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" sz="2800">
              <a:solidFill>
                <a:srgbClr val="000000"/>
              </a:solidFill>
              <a:latin typeface="Arial" pitchFamily="34" charset="0"/>
              <a:cs typeface="Arial" pitchFamily="34" charset="0"/>
              <a:sym typeface="Gill Sans" pitchFamily="34" charset="0"/>
            </a:endParaRPr>
          </a:p>
        </p:txBody>
      </p:sp>
      <p:sp>
        <p:nvSpPr>
          <p:cNvPr id="10" name="Rectangle 1"/>
          <p:cNvSpPr>
            <a:spLocks/>
          </p:cNvSpPr>
          <p:nvPr userDrawn="1"/>
        </p:nvSpPr>
        <p:spPr bwMode="auto">
          <a:xfrm>
            <a:off x="-12700" y="-25025"/>
            <a:ext cx="9188450" cy="6941432"/>
          </a:xfrm>
          <a:prstGeom prst="rect">
            <a:avLst/>
          </a:prstGeom>
          <a:gradFill rotWithShape="0">
            <a:gsLst>
              <a:gs pos="0">
                <a:srgbClr val="1C6793"/>
              </a:gs>
              <a:gs pos="100000">
                <a:srgbClr val="092432"/>
              </a:gs>
            </a:gsLst>
            <a:path path="rect">
              <a:fillToRect l="49054" t="14149" r="50946" b="85851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_tradnl" sz="47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6414779"/>
            <a:ext cx="897558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0900" y="188640"/>
            <a:ext cx="470297" cy="758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7296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  <p:sldLayoutId id="2147483780" r:id="rId13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5pPr>
      <a:lvl6pPr marL="457166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6pPr>
      <a:lvl7pPr marL="914333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7pPr>
      <a:lvl8pPr marL="1371499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8pPr>
      <a:lvl9pPr marL="1828666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9pPr>
    </p:titleStyle>
    <p:bodyStyle>
      <a:lvl1pPr marL="342875" indent="-342875" algn="l" rtl="0" eaLnBrk="0" fontAlgn="base" hangingPunct="0">
        <a:spcBef>
          <a:spcPct val="20000"/>
        </a:spcBef>
        <a:spcAft>
          <a:spcPct val="0"/>
        </a:spcAft>
        <a:buClr>
          <a:srgbClr val="00BACF"/>
        </a:buClr>
        <a:buSzPct val="200000"/>
        <a:buChar char="•"/>
        <a:defRPr>
          <a:solidFill>
            <a:srgbClr val="255C81"/>
          </a:solidFill>
          <a:latin typeface="+mn-lt"/>
          <a:ea typeface="+mn-ea"/>
          <a:cs typeface="+mn-cs"/>
        </a:defRPr>
      </a:lvl1pPr>
      <a:lvl2pPr marL="742895" indent="-285729" algn="l" rtl="0" eaLnBrk="0" fontAlgn="base" hangingPunct="0">
        <a:spcBef>
          <a:spcPct val="20000"/>
        </a:spcBef>
        <a:spcAft>
          <a:spcPct val="0"/>
        </a:spcAft>
        <a:buClr>
          <a:srgbClr val="00BACF"/>
        </a:buClr>
        <a:buFont typeface="Wingdings" pitchFamily="2" charset="2"/>
        <a:buChar char="§"/>
        <a:defRPr sz="1600">
          <a:solidFill>
            <a:srgbClr val="255C81"/>
          </a:solidFill>
          <a:latin typeface="+mn-lt"/>
        </a:defRPr>
      </a:lvl2pPr>
      <a:lvl3pPr marL="1142916" indent="-228583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255C81"/>
          </a:solidFill>
          <a:latin typeface="+mn-lt"/>
        </a:defRPr>
      </a:lvl3pPr>
      <a:lvl4pPr marL="1600082" indent="-22858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255C81"/>
          </a:solidFill>
          <a:latin typeface="+mn-lt"/>
        </a:defRPr>
      </a:lvl4pPr>
      <a:lvl5pPr marL="2057248" indent="-22858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5pPr>
      <a:lvl6pPr marL="2514415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6pPr>
      <a:lvl7pPr marL="2971581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7pPr>
      <a:lvl8pPr marL="3428748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8pPr>
      <a:lvl9pPr marL="3885914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9pPr>
    </p:bodyStyle>
    <p:otherStyle>
      <a:defPPr>
        <a:defRPr lang="es-ES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4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1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15899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3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28" name="AutoShape 10"/>
          <p:cNvSpPr>
            <a:spLocks/>
          </p:cNvSpPr>
          <p:nvPr/>
        </p:nvSpPr>
        <p:spPr bwMode="auto">
          <a:xfrm>
            <a:off x="4343400" y="6400803"/>
            <a:ext cx="457200" cy="254000"/>
          </a:xfrm>
          <a:prstGeom prst="roundRect">
            <a:avLst>
              <a:gd name="adj" fmla="val 50000"/>
            </a:avLst>
          </a:prstGeom>
          <a:noFill/>
          <a:ln w="19050" cap="rnd">
            <a:solidFill>
              <a:srgbClr val="44B5CA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hangingPunct="1"/>
            <a:endParaRPr lang="es-ES" sz="28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sp>
        <p:nvSpPr>
          <p:cNvPr id="1029" name="Rectangle 3"/>
          <p:cNvSpPr>
            <a:spLocks/>
          </p:cNvSpPr>
          <p:nvPr/>
        </p:nvSpPr>
        <p:spPr bwMode="auto">
          <a:xfrm>
            <a:off x="4448571" y="6445263"/>
            <a:ext cx="246862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hangingPunct="1"/>
            <a:fld id="{C017C531-DF14-48E4-8391-5A817F170197}" type="slidenum">
              <a:rPr lang="en-US" sz="1100">
                <a:solidFill>
                  <a:srgbClr val="003F52"/>
                </a:solidFill>
                <a:latin typeface="Arial" pitchFamily="34" charset="0"/>
                <a:ea typeface="MS PGothic" pitchFamily="34" charset="-128"/>
                <a:sym typeface="Arial" pitchFamily="34" charset="0"/>
              </a:rPr>
              <a:pPr algn="ctr" hangingPunct="1"/>
              <a:t>‹Nº›</a:t>
            </a:fld>
            <a:endParaRPr lang="en-US" sz="1100">
              <a:solidFill>
                <a:srgbClr val="003F52"/>
              </a:solidFill>
              <a:latin typeface="Arial" pitchFamily="34" charset="0"/>
              <a:ea typeface="MS PGothic" pitchFamily="34" charset="-128"/>
              <a:sym typeface="Arial" pitchFamily="34" charset="0"/>
            </a:endParaRPr>
          </a:p>
        </p:txBody>
      </p:sp>
      <p:pic>
        <p:nvPicPr>
          <p:cNvPr id="1030" name="Picture 11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2900" y="6399219"/>
            <a:ext cx="10160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Rectangle 12"/>
          <p:cNvSpPr>
            <a:spLocks/>
          </p:cNvSpPr>
          <p:nvPr/>
        </p:nvSpPr>
        <p:spPr bwMode="auto">
          <a:xfrm>
            <a:off x="128589" y="6371222"/>
            <a:ext cx="83356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hangingPunct="1"/>
            <a:r>
              <a:rPr lang="en-US" sz="1100">
                <a:solidFill>
                  <a:srgbClr val="162E3E"/>
                </a:solidFill>
                <a:latin typeface="Arial Bold"/>
                <a:ea typeface="MS PGothic" pitchFamily="34" charset="-128"/>
                <a:sym typeface="Arial Bold"/>
              </a:rPr>
              <a:t>Area</a:t>
            </a:r>
          </a:p>
          <a:p>
            <a:pPr hangingPunct="1"/>
            <a:r>
              <a:rPr lang="en-US" sz="1100">
                <a:solidFill>
                  <a:srgbClr val="162E3E"/>
                </a:solidFill>
                <a:latin typeface="Arial" pitchFamily="34" charset="0"/>
                <a:ea typeface="MS PGothic" pitchFamily="34" charset="-128"/>
                <a:sym typeface="Arial" pitchFamily="34" charset="0"/>
              </a:rPr>
              <a:t>Razón Social</a:t>
            </a:r>
          </a:p>
        </p:txBody>
      </p:sp>
      <p:pic>
        <p:nvPicPr>
          <p:cNvPr id="1032" name="Picture 14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0" y="6197601"/>
            <a:ext cx="8763000" cy="36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1"/>
          <p:cNvSpPr>
            <a:spLocks/>
          </p:cNvSpPr>
          <p:nvPr/>
        </p:nvSpPr>
        <p:spPr bwMode="auto">
          <a:xfrm>
            <a:off x="0" y="2"/>
            <a:ext cx="368300" cy="647700"/>
          </a:xfrm>
          <a:prstGeom prst="rect">
            <a:avLst/>
          </a:prstGeom>
          <a:gradFill rotWithShape="0">
            <a:gsLst>
              <a:gs pos="0">
                <a:srgbClr val="0A1519"/>
              </a:gs>
              <a:gs pos="100000">
                <a:srgbClr val="2A5E77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" sz="2800">
              <a:solidFill>
                <a:srgbClr val="000000"/>
              </a:solidFill>
              <a:latin typeface="Arial" pitchFamily="34" charset="0"/>
              <a:cs typeface="Arial" pitchFamily="34" charset="0"/>
              <a:sym typeface="Gill Sans" pitchFamily="34" charset="0"/>
            </a:endParaRPr>
          </a:p>
        </p:txBody>
      </p:sp>
      <p:sp>
        <p:nvSpPr>
          <p:cNvPr id="10" name="Rectangle 1"/>
          <p:cNvSpPr>
            <a:spLocks/>
          </p:cNvSpPr>
          <p:nvPr userDrawn="1"/>
        </p:nvSpPr>
        <p:spPr bwMode="auto">
          <a:xfrm>
            <a:off x="-12700" y="-25025"/>
            <a:ext cx="9188450" cy="6941432"/>
          </a:xfrm>
          <a:prstGeom prst="rect">
            <a:avLst/>
          </a:prstGeom>
          <a:gradFill rotWithShape="0">
            <a:gsLst>
              <a:gs pos="0">
                <a:srgbClr val="1C6793"/>
              </a:gs>
              <a:gs pos="100000">
                <a:srgbClr val="092432"/>
              </a:gs>
            </a:gsLst>
            <a:path path="rect">
              <a:fillToRect l="49054" t="14149" r="50946" b="85851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_tradnl" sz="47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4200" y="6414779"/>
            <a:ext cx="79375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988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5pPr>
      <a:lvl6pPr marL="457166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6pPr>
      <a:lvl7pPr marL="914333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7pPr>
      <a:lvl8pPr marL="1371499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8pPr>
      <a:lvl9pPr marL="1828666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9pPr>
    </p:titleStyle>
    <p:bodyStyle>
      <a:lvl1pPr marL="342875" indent="-342875" algn="l" rtl="0" eaLnBrk="0" fontAlgn="base" hangingPunct="0">
        <a:spcBef>
          <a:spcPct val="20000"/>
        </a:spcBef>
        <a:spcAft>
          <a:spcPct val="0"/>
        </a:spcAft>
        <a:buClr>
          <a:srgbClr val="00BACF"/>
        </a:buClr>
        <a:buSzPct val="200000"/>
        <a:buChar char="•"/>
        <a:defRPr>
          <a:solidFill>
            <a:srgbClr val="255C81"/>
          </a:solidFill>
          <a:latin typeface="+mn-lt"/>
          <a:ea typeface="+mn-ea"/>
          <a:cs typeface="+mn-cs"/>
        </a:defRPr>
      </a:lvl1pPr>
      <a:lvl2pPr marL="742895" indent="-285729" algn="l" rtl="0" eaLnBrk="0" fontAlgn="base" hangingPunct="0">
        <a:spcBef>
          <a:spcPct val="20000"/>
        </a:spcBef>
        <a:spcAft>
          <a:spcPct val="0"/>
        </a:spcAft>
        <a:buClr>
          <a:srgbClr val="00BACF"/>
        </a:buClr>
        <a:buFont typeface="Wingdings" pitchFamily="2" charset="2"/>
        <a:buChar char="§"/>
        <a:defRPr sz="1600">
          <a:solidFill>
            <a:srgbClr val="255C81"/>
          </a:solidFill>
          <a:latin typeface="+mn-lt"/>
        </a:defRPr>
      </a:lvl2pPr>
      <a:lvl3pPr marL="1142916" indent="-228583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255C81"/>
          </a:solidFill>
          <a:latin typeface="+mn-lt"/>
        </a:defRPr>
      </a:lvl3pPr>
      <a:lvl4pPr marL="1600082" indent="-22858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255C81"/>
          </a:solidFill>
          <a:latin typeface="+mn-lt"/>
        </a:defRPr>
      </a:lvl4pPr>
      <a:lvl5pPr marL="2057248" indent="-22858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5pPr>
      <a:lvl6pPr marL="2514415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6pPr>
      <a:lvl7pPr marL="2971581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7pPr>
      <a:lvl8pPr marL="3428748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8pPr>
      <a:lvl9pPr marL="3885914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9pPr>
    </p:bodyStyle>
    <p:otherStyle>
      <a:defPPr>
        <a:defRPr lang="es-ES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4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1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99" name="Group 4"/>
          <p:cNvGrpSpPr>
            <a:grpSpLocks/>
          </p:cNvGrpSpPr>
          <p:nvPr userDrawn="1"/>
        </p:nvGrpSpPr>
        <p:grpSpPr bwMode="auto">
          <a:xfrm>
            <a:off x="7630262" y="6437319"/>
            <a:ext cx="1129811" cy="231775"/>
            <a:chOff x="0" y="0"/>
            <a:chExt cx="591" cy="111"/>
          </a:xfrm>
        </p:grpSpPr>
        <p:sp>
          <p:nvSpPr>
            <p:cNvPr id="2056" name="AutoShape 2"/>
            <p:cNvSpPr>
              <a:spLocks/>
            </p:cNvSpPr>
            <p:nvPr/>
          </p:nvSpPr>
          <p:spPr bwMode="auto">
            <a:xfrm>
              <a:off x="0" y="0"/>
              <a:ext cx="546" cy="9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w 21600"/>
                <a:gd name="T17" fmla="*/ 0 h 21600"/>
                <a:gd name="T18" fmla="*/ 0 w 21600"/>
                <a:gd name="T19" fmla="*/ 0 h 21600"/>
                <a:gd name="T20" fmla="*/ 0 w 21600"/>
                <a:gd name="T21" fmla="*/ 0 h 21600"/>
                <a:gd name="T22" fmla="*/ 0 w 21600"/>
                <a:gd name="T23" fmla="*/ 0 h 21600"/>
                <a:gd name="T24" fmla="*/ 0 w 21600"/>
                <a:gd name="T25" fmla="*/ 0 h 21600"/>
                <a:gd name="T26" fmla="*/ 0 w 21600"/>
                <a:gd name="T27" fmla="*/ 0 h 21600"/>
                <a:gd name="T28" fmla="*/ 0 w 21600"/>
                <a:gd name="T29" fmla="*/ 0 h 21600"/>
                <a:gd name="T30" fmla="*/ 0 w 21600"/>
                <a:gd name="T31" fmla="*/ 0 h 21600"/>
                <a:gd name="T32" fmla="*/ 0 w 21600"/>
                <a:gd name="T33" fmla="*/ 0 h 21600"/>
                <a:gd name="T34" fmla="*/ 0 w 21600"/>
                <a:gd name="T35" fmla="*/ 0 h 21600"/>
                <a:gd name="T36" fmla="*/ 0 w 21600"/>
                <a:gd name="T37" fmla="*/ 0 h 21600"/>
                <a:gd name="T38" fmla="*/ 0 w 21600"/>
                <a:gd name="T39" fmla="*/ 0 h 21600"/>
                <a:gd name="T40" fmla="*/ 0 w 21600"/>
                <a:gd name="T41" fmla="*/ 0 h 21600"/>
                <a:gd name="T42" fmla="*/ 0 w 21600"/>
                <a:gd name="T43" fmla="*/ 0 h 21600"/>
                <a:gd name="T44" fmla="*/ 0 w 21600"/>
                <a:gd name="T45" fmla="*/ 0 h 21600"/>
                <a:gd name="T46" fmla="*/ 0 w 21600"/>
                <a:gd name="T47" fmla="*/ 0 h 21600"/>
                <a:gd name="T48" fmla="*/ 0 w 21600"/>
                <a:gd name="T49" fmla="*/ 0 h 21600"/>
                <a:gd name="T50" fmla="*/ 0 w 21600"/>
                <a:gd name="T51" fmla="*/ 0 h 21600"/>
                <a:gd name="T52" fmla="*/ 0 w 21600"/>
                <a:gd name="T53" fmla="*/ 0 h 21600"/>
                <a:gd name="T54" fmla="*/ 0 w 21600"/>
                <a:gd name="T55" fmla="*/ 0 h 21600"/>
                <a:gd name="T56" fmla="*/ 0 w 21600"/>
                <a:gd name="T57" fmla="*/ 0 h 21600"/>
                <a:gd name="T58" fmla="*/ 0 w 21600"/>
                <a:gd name="T59" fmla="*/ 0 h 21600"/>
                <a:gd name="T60" fmla="*/ 0 w 21600"/>
                <a:gd name="T61" fmla="*/ 0 h 21600"/>
                <a:gd name="T62" fmla="*/ 0 w 21600"/>
                <a:gd name="T63" fmla="*/ 0 h 21600"/>
                <a:gd name="T64" fmla="*/ 0 w 21600"/>
                <a:gd name="T65" fmla="*/ 0 h 21600"/>
                <a:gd name="T66" fmla="*/ 0 w 21600"/>
                <a:gd name="T67" fmla="*/ 0 h 21600"/>
                <a:gd name="T68" fmla="*/ 0 w 21600"/>
                <a:gd name="T69" fmla="*/ 0 h 21600"/>
                <a:gd name="T70" fmla="*/ 0 w 21600"/>
                <a:gd name="T71" fmla="*/ 0 h 21600"/>
                <a:gd name="T72" fmla="*/ 0 w 21600"/>
                <a:gd name="T73" fmla="*/ 0 h 21600"/>
                <a:gd name="T74" fmla="*/ 0 w 21600"/>
                <a:gd name="T75" fmla="*/ 0 h 21600"/>
                <a:gd name="T76" fmla="*/ 0 w 21600"/>
                <a:gd name="T77" fmla="*/ 0 h 21600"/>
                <a:gd name="T78" fmla="*/ 0 w 21600"/>
                <a:gd name="T79" fmla="*/ 0 h 21600"/>
                <a:gd name="T80" fmla="*/ 0 w 21600"/>
                <a:gd name="T81" fmla="*/ 0 h 21600"/>
                <a:gd name="T82" fmla="*/ 0 w 21600"/>
                <a:gd name="T83" fmla="*/ 0 h 21600"/>
                <a:gd name="T84" fmla="*/ 0 w 21600"/>
                <a:gd name="T85" fmla="*/ 0 h 21600"/>
                <a:gd name="T86" fmla="*/ 0 w 21600"/>
                <a:gd name="T87" fmla="*/ 0 h 21600"/>
                <a:gd name="T88" fmla="*/ 0 w 21600"/>
                <a:gd name="T89" fmla="*/ 0 h 21600"/>
                <a:gd name="T90" fmla="*/ 0 w 21600"/>
                <a:gd name="T91" fmla="*/ 0 h 21600"/>
                <a:gd name="T92" fmla="*/ 0 w 21600"/>
                <a:gd name="T93" fmla="*/ 0 h 21600"/>
                <a:gd name="T94" fmla="*/ 0 w 21600"/>
                <a:gd name="T95" fmla="*/ 0 h 21600"/>
                <a:gd name="T96" fmla="*/ 0 w 21600"/>
                <a:gd name="T97" fmla="*/ 0 h 21600"/>
                <a:gd name="T98" fmla="*/ 0 w 21600"/>
                <a:gd name="T99" fmla="*/ 0 h 21600"/>
                <a:gd name="T100" fmla="*/ 0 w 21600"/>
                <a:gd name="T101" fmla="*/ 0 h 216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600"/>
                <a:gd name="T154" fmla="*/ 0 h 21600"/>
                <a:gd name="T155" fmla="*/ 21600 w 21600"/>
                <a:gd name="T156" fmla="*/ 21600 h 216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600" h="21600">
                  <a:moveTo>
                    <a:pt x="2236" y="9904"/>
                  </a:moveTo>
                  <a:cubicBezTo>
                    <a:pt x="2490" y="10359"/>
                    <a:pt x="2636" y="10997"/>
                    <a:pt x="2734" y="11787"/>
                  </a:cubicBezTo>
                  <a:cubicBezTo>
                    <a:pt x="2833" y="12577"/>
                    <a:pt x="2864" y="13428"/>
                    <a:pt x="2864" y="14460"/>
                  </a:cubicBezTo>
                  <a:cubicBezTo>
                    <a:pt x="2864" y="16952"/>
                    <a:pt x="2688" y="18501"/>
                    <a:pt x="2444" y="19473"/>
                  </a:cubicBezTo>
                  <a:cubicBezTo>
                    <a:pt x="2174" y="20567"/>
                    <a:pt x="1764" y="21175"/>
                    <a:pt x="1105" y="21175"/>
                  </a:cubicBezTo>
                  <a:lnTo>
                    <a:pt x="0" y="21175"/>
                  </a:lnTo>
                  <a:lnTo>
                    <a:pt x="623" y="395"/>
                  </a:lnTo>
                  <a:lnTo>
                    <a:pt x="1717" y="395"/>
                  </a:lnTo>
                  <a:cubicBezTo>
                    <a:pt x="2226" y="395"/>
                    <a:pt x="2480" y="942"/>
                    <a:pt x="2636" y="1671"/>
                  </a:cubicBezTo>
                  <a:cubicBezTo>
                    <a:pt x="2823" y="2552"/>
                    <a:pt x="2885" y="3797"/>
                    <a:pt x="2885" y="4982"/>
                  </a:cubicBezTo>
                  <a:cubicBezTo>
                    <a:pt x="2885" y="7017"/>
                    <a:pt x="2703" y="8871"/>
                    <a:pt x="2236" y="9904"/>
                  </a:cubicBezTo>
                  <a:close/>
                  <a:moveTo>
                    <a:pt x="908" y="17742"/>
                  </a:moveTo>
                  <a:lnTo>
                    <a:pt x="1188" y="17742"/>
                  </a:lnTo>
                  <a:cubicBezTo>
                    <a:pt x="1484" y="17742"/>
                    <a:pt x="1645" y="17529"/>
                    <a:pt x="1775" y="17134"/>
                  </a:cubicBezTo>
                  <a:cubicBezTo>
                    <a:pt x="1920" y="16679"/>
                    <a:pt x="2039" y="15919"/>
                    <a:pt x="2039" y="14643"/>
                  </a:cubicBezTo>
                  <a:cubicBezTo>
                    <a:pt x="2039" y="13792"/>
                    <a:pt x="1987" y="13155"/>
                    <a:pt x="1899" y="12760"/>
                  </a:cubicBezTo>
                  <a:cubicBezTo>
                    <a:pt x="1800" y="12304"/>
                    <a:pt x="1650" y="12091"/>
                    <a:pt x="1437" y="12091"/>
                  </a:cubicBezTo>
                  <a:lnTo>
                    <a:pt x="1079" y="12091"/>
                  </a:lnTo>
                  <a:lnTo>
                    <a:pt x="908" y="17742"/>
                  </a:lnTo>
                  <a:close/>
                  <a:moveTo>
                    <a:pt x="1183" y="8658"/>
                  </a:moveTo>
                  <a:lnTo>
                    <a:pt x="1365" y="8658"/>
                  </a:lnTo>
                  <a:cubicBezTo>
                    <a:pt x="1645" y="8658"/>
                    <a:pt x="1800" y="8324"/>
                    <a:pt x="1909" y="7838"/>
                  </a:cubicBezTo>
                  <a:cubicBezTo>
                    <a:pt x="2018" y="7352"/>
                    <a:pt x="2081" y="6623"/>
                    <a:pt x="2081" y="5742"/>
                  </a:cubicBezTo>
                  <a:cubicBezTo>
                    <a:pt x="2081" y="5134"/>
                    <a:pt x="2055" y="4739"/>
                    <a:pt x="1998" y="4405"/>
                  </a:cubicBezTo>
                  <a:cubicBezTo>
                    <a:pt x="1935" y="4071"/>
                    <a:pt x="1831" y="3828"/>
                    <a:pt x="1603" y="3828"/>
                  </a:cubicBezTo>
                  <a:lnTo>
                    <a:pt x="1328" y="3828"/>
                  </a:lnTo>
                  <a:lnTo>
                    <a:pt x="1183" y="8658"/>
                  </a:lnTo>
                  <a:close/>
                  <a:moveTo>
                    <a:pt x="4140" y="17742"/>
                  </a:moveTo>
                  <a:lnTo>
                    <a:pt x="5749" y="17742"/>
                  </a:lnTo>
                  <a:lnTo>
                    <a:pt x="5650" y="21175"/>
                  </a:lnTo>
                  <a:lnTo>
                    <a:pt x="3227" y="21175"/>
                  </a:lnTo>
                  <a:lnTo>
                    <a:pt x="3850" y="395"/>
                  </a:lnTo>
                  <a:lnTo>
                    <a:pt x="6247" y="395"/>
                  </a:lnTo>
                  <a:lnTo>
                    <a:pt x="6081" y="3828"/>
                  </a:lnTo>
                  <a:lnTo>
                    <a:pt x="4556" y="3828"/>
                  </a:lnTo>
                  <a:lnTo>
                    <a:pt x="4405" y="8871"/>
                  </a:lnTo>
                  <a:lnTo>
                    <a:pt x="5624" y="8871"/>
                  </a:lnTo>
                  <a:lnTo>
                    <a:pt x="5515" y="12425"/>
                  </a:lnTo>
                  <a:lnTo>
                    <a:pt x="4296" y="12425"/>
                  </a:lnTo>
                  <a:lnTo>
                    <a:pt x="4140" y="17742"/>
                  </a:lnTo>
                  <a:close/>
                  <a:moveTo>
                    <a:pt x="8540" y="395"/>
                  </a:moveTo>
                  <a:lnTo>
                    <a:pt x="9298" y="11878"/>
                  </a:lnTo>
                  <a:lnTo>
                    <a:pt x="10792" y="395"/>
                  </a:lnTo>
                  <a:lnTo>
                    <a:pt x="11456" y="395"/>
                  </a:lnTo>
                  <a:lnTo>
                    <a:pt x="10834" y="21175"/>
                  </a:lnTo>
                  <a:lnTo>
                    <a:pt x="10092" y="21175"/>
                  </a:lnTo>
                  <a:lnTo>
                    <a:pt x="10450" y="9053"/>
                  </a:lnTo>
                  <a:lnTo>
                    <a:pt x="9495" y="16436"/>
                  </a:lnTo>
                  <a:lnTo>
                    <a:pt x="8872" y="16436"/>
                  </a:lnTo>
                  <a:lnTo>
                    <a:pt x="8354" y="8658"/>
                  </a:lnTo>
                  <a:lnTo>
                    <a:pt x="7975" y="21175"/>
                  </a:lnTo>
                  <a:lnTo>
                    <a:pt x="7295" y="21175"/>
                  </a:lnTo>
                  <a:lnTo>
                    <a:pt x="7918" y="395"/>
                  </a:lnTo>
                  <a:lnTo>
                    <a:pt x="8540" y="395"/>
                  </a:lnTo>
                  <a:close/>
                  <a:moveTo>
                    <a:pt x="11685" y="13640"/>
                  </a:moveTo>
                  <a:cubicBezTo>
                    <a:pt x="11685" y="10451"/>
                    <a:pt x="11820" y="7321"/>
                    <a:pt x="12058" y="4921"/>
                  </a:cubicBezTo>
                  <a:cubicBezTo>
                    <a:pt x="12380" y="1701"/>
                    <a:pt x="12893" y="0"/>
                    <a:pt x="13610" y="0"/>
                  </a:cubicBezTo>
                  <a:cubicBezTo>
                    <a:pt x="14429" y="0"/>
                    <a:pt x="14990" y="2521"/>
                    <a:pt x="14990" y="7959"/>
                  </a:cubicBezTo>
                  <a:cubicBezTo>
                    <a:pt x="14990" y="11149"/>
                    <a:pt x="14855" y="14278"/>
                    <a:pt x="14616" y="16678"/>
                  </a:cubicBezTo>
                  <a:cubicBezTo>
                    <a:pt x="14295" y="19899"/>
                    <a:pt x="13781" y="21600"/>
                    <a:pt x="13065" y="21600"/>
                  </a:cubicBezTo>
                  <a:cubicBezTo>
                    <a:pt x="12245" y="21600"/>
                    <a:pt x="11685" y="19078"/>
                    <a:pt x="11685" y="13640"/>
                  </a:cubicBezTo>
                  <a:close/>
                  <a:moveTo>
                    <a:pt x="12790" y="6775"/>
                  </a:moveTo>
                  <a:cubicBezTo>
                    <a:pt x="12619" y="8688"/>
                    <a:pt x="12520" y="11180"/>
                    <a:pt x="12520" y="13640"/>
                  </a:cubicBezTo>
                  <a:cubicBezTo>
                    <a:pt x="12520" y="16770"/>
                    <a:pt x="12764" y="17894"/>
                    <a:pt x="13127" y="17894"/>
                  </a:cubicBezTo>
                  <a:cubicBezTo>
                    <a:pt x="13469" y="17894"/>
                    <a:pt x="13713" y="16709"/>
                    <a:pt x="13885" y="14825"/>
                  </a:cubicBezTo>
                  <a:cubicBezTo>
                    <a:pt x="14056" y="12912"/>
                    <a:pt x="14154" y="10420"/>
                    <a:pt x="14154" y="7960"/>
                  </a:cubicBezTo>
                  <a:cubicBezTo>
                    <a:pt x="14154" y="4830"/>
                    <a:pt x="13911" y="3706"/>
                    <a:pt x="13547" y="3706"/>
                  </a:cubicBezTo>
                  <a:cubicBezTo>
                    <a:pt x="13205" y="3706"/>
                    <a:pt x="12961" y="4891"/>
                    <a:pt x="12790" y="6775"/>
                  </a:cubicBezTo>
                  <a:close/>
                  <a:moveTo>
                    <a:pt x="18098" y="10177"/>
                  </a:moveTo>
                  <a:cubicBezTo>
                    <a:pt x="17963" y="11271"/>
                    <a:pt x="17745" y="12182"/>
                    <a:pt x="17459" y="12851"/>
                  </a:cubicBezTo>
                  <a:lnTo>
                    <a:pt x="18009" y="21175"/>
                  </a:lnTo>
                  <a:lnTo>
                    <a:pt x="17143" y="21175"/>
                  </a:lnTo>
                  <a:lnTo>
                    <a:pt x="16728" y="13641"/>
                  </a:lnTo>
                  <a:lnTo>
                    <a:pt x="16251" y="13641"/>
                  </a:lnTo>
                  <a:lnTo>
                    <a:pt x="16027" y="21175"/>
                  </a:lnTo>
                  <a:lnTo>
                    <a:pt x="15218" y="21175"/>
                  </a:lnTo>
                  <a:lnTo>
                    <a:pt x="15841" y="395"/>
                  </a:lnTo>
                  <a:lnTo>
                    <a:pt x="17050" y="395"/>
                  </a:lnTo>
                  <a:cubicBezTo>
                    <a:pt x="17491" y="395"/>
                    <a:pt x="17797" y="942"/>
                    <a:pt x="17989" y="1914"/>
                  </a:cubicBezTo>
                  <a:cubicBezTo>
                    <a:pt x="18202" y="2977"/>
                    <a:pt x="18290" y="4526"/>
                    <a:pt x="18290" y="6319"/>
                  </a:cubicBezTo>
                  <a:cubicBezTo>
                    <a:pt x="18290" y="7807"/>
                    <a:pt x="18227" y="9114"/>
                    <a:pt x="18098" y="10177"/>
                  </a:cubicBezTo>
                  <a:close/>
                  <a:moveTo>
                    <a:pt x="16354" y="10208"/>
                  </a:moveTo>
                  <a:lnTo>
                    <a:pt x="16666" y="10208"/>
                  </a:lnTo>
                  <a:cubicBezTo>
                    <a:pt x="16915" y="10208"/>
                    <a:pt x="17138" y="9934"/>
                    <a:pt x="17288" y="9114"/>
                  </a:cubicBezTo>
                  <a:cubicBezTo>
                    <a:pt x="17408" y="8476"/>
                    <a:pt x="17486" y="7443"/>
                    <a:pt x="17486" y="6349"/>
                  </a:cubicBezTo>
                  <a:cubicBezTo>
                    <a:pt x="17486" y="5651"/>
                    <a:pt x="17454" y="5012"/>
                    <a:pt x="17382" y="4587"/>
                  </a:cubicBezTo>
                  <a:cubicBezTo>
                    <a:pt x="17299" y="4101"/>
                    <a:pt x="17169" y="3828"/>
                    <a:pt x="16951" y="3828"/>
                  </a:cubicBezTo>
                  <a:lnTo>
                    <a:pt x="16546" y="3828"/>
                  </a:lnTo>
                  <a:lnTo>
                    <a:pt x="16354" y="10208"/>
                  </a:lnTo>
                  <a:close/>
                  <a:moveTo>
                    <a:pt x="19493" y="17742"/>
                  </a:moveTo>
                  <a:lnTo>
                    <a:pt x="21102" y="17742"/>
                  </a:lnTo>
                  <a:lnTo>
                    <a:pt x="21003" y="21175"/>
                  </a:lnTo>
                  <a:lnTo>
                    <a:pt x="18580" y="21175"/>
                  </a:lnTo>
                  <a:lnTo>
                    <a:pt x="19203" y="395"/>
                  </a:lnTo>
                  <a:lnTo>
                    <a:pt x="21600" y="395"/>
                  </a:lnTo>
                  <a:lnTo>
                    <a:pt x="21434" y="3828"/>
                  </a:lnTo>
                  <a:lnTo>
                    <a:pt x="19909" y="3828"/>
                  </a:lnTo>
                  <a:lnTo>
                    <a:pt x="19758" y="8871"/>
                  </a:lnTo>
                  <a:lnTo>
                    <a:pt x="20977" y="8871"/>
                  </a:lnTo>
                  <a:lnTo>
                    <a:pt x="20868" y="12425"/>
                  </a:lnTo>
                  <a:lnTo>
                    <a:pt x="19649" y="12425"/>
                  </a:lnTo>
                  <a:lnTo>
                    <a:pt x="19493" y="17742"/>
                  </a:lnTo>
                  <a:close/>
                  <a:moveTo>
                    <a:pt x="19493" y="17742"/>
                  </a:moveTo>
                </a:path>
              </a:pathLst>
            </a:custGeom>
            <a:solidFill>
              <a:schemeClr val="accent1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ES_tradnl" sz="1662">
                <a:solidFill>
                  <a:srgbClr val="003245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2057" name="AutoShape 3"/>
            <p:cNvSpPr>
              <a:spLocks/>
            </p:cNvSpPr>
            <p:nvPr/>
          </p:nvSpPr>
          <p:spPr bwMode="auto">
            <a:xfrm>
              <a:off x="533" y="98"/>
              <a:ext cx="58" cy="1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1600"/>
                <a:gd name="T19" fmla="*/ 0 h 21600"/>
                <a:gd name="T20" fmla="*/ 21600 w 21600"/>
                <a:gd name="T21" fmla="*/ 21600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0" y="21600"/>
                  </a:moveTo>
                  <a:lnTo>
                    <a:pt x="870" y="0"/>
                  </a:lnTo>
                  <a:lnTo>
                    <a:pt x="21600" y="0"/>
                  </a:lnTo>
                  <a:lnTo>
                    <a:pt x="20730" y="21600"/>
                  </a:lnTo>
                  <a:lnTo>
                    <a:pt x="0" y="21600"/>
                  </a:lnTo>
                  <a:close/>
                  <a:moveTo>
                    <a:pt x="0" y="21600"/>
                  </a:moveTo>
                </a:path>
              </a:pathLst>
            </a:custGeom>
            <a:solidFill>
              <a:srgbClr val="7DFE9D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</a:pPr>
              <a:endParaRPr lang="es-ES_tradnl" sz="1662">
                <a:solidFill>
                  <a:srgbClr val="003245"/>
                </a:solidFill>
                <a:latin typeface="Trebuchet MS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3626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6" r:id="rId2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+mj-lt"/>
          <a:ea typeface="+mj-ea"/>
          <a:cs typeface="+mj-cs"/>
          <a:sym typeface="Gill Sans" pitchFamily="-8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5pPr>
      <a:lvl6pPr marL="422041" algn="ctr" rtl="0" fontAlgn="base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844083" algn="ctr" rtl="0" fontAlgn="base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266124" algn="ctr" rtl="0" fontAlgn="base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688165" algn="ctr" rtl="0" fontAlgn="base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16531" indent="-316531" algn="ctr" rtl="0" eaLnBrk="0" fontAlgn="base" hangingPunct="0">
        <a:spcBef>
          <a:spcPct val="0"/>
        </a:spcBef>
        <a:spcAft>
          <a:spcPct val="0"/>
        </a:spcAft>
        <a:defRPr sz="2215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1pPr>
      <a:lvl2pPr marL="685817" indent="-263776" algn="ctr" rtl="0" eaLnBrk="0" fontAlgn="base" hangingPunct="0">
        <a:spcBef>
          <a:spcPct val="0"/>
        </a:spcBef>
        <a:spcAft>
          <a:spcPct val="0"/>
        </a:spcAft>
        <a:defRPr sz="2215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2pPr>
      <a:lvl3pPr marL="1055103" indent="-211021" algn="ctr" rtl="0" eaLnBrk="0" fontAlgn="base" hangingPunct="0">
        <a:spcBef>
          <a:spcPct val="0"/>
        </a:spcBef>
        <a:spcAft>
          <a:spcPct val="0"/>
        </a:spcAft>
        <a:defRPr sz="2215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3pPr>
      <a:lvl4pPr marL="1477145" indent="-211021" algn="ctr" rtl="0" eaLnBrk="0" fontAlgn="base" hangingPunct="0">
        <a:spcBef>
          <a:spcPct val="0"/>
        </a:spcBef>
        <a:spcAft>
          <a:spcPct val="0"/>
        </a:spcAft>
        <a:defRPr sz="2215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4pPr>
      <a:lvl5pPr marL="1899186" indent="-211021" algn="ctr" rtl="0" eaLnBrk="0" fontAlgn="base" hangingPunct="0">
        <a:spcBef>
          <a:spcPct val="0"/>
        </a:spcBef>
        <a:spcAft>
          <a:spcPct val="0"/>
        </a:spcAft>
        <a:defRPr sz="2215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5pPr>
      <a:lvl6pPr marL="422041" algn="ctr" rtl="0" fontAlgn="base">
        <a:spcBef>
          <a:spcPct val="0"/>
        </a:spcBef>
        <a:spcAft>
          <a:spcPct val="0"/>
        </a:spcAft>
        <a:defRPr sz="2215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844083" algn="ctr" rtl="0" fontAlgn="base">
        <a:spcBef>
          <a:spcPct val="0"/>
        </a:spcBef>
        <a:spcAft>
          <a:spcPct val="0"/>
        </a:spcAft>
        <a:defRPr sz="2215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266124" algn="ctr" rtl="0" fontAlgn="base">
        <a:spcBef>
          <a:spcPct val="0"/>
        </a:spcBef>
        <a:spcAft>
          <a:spcPct val="0"/>
        </a:spcAft>
        <a:defRPr sz="2215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688165" algn="ctr" rtl="0" fontAlgn="base">
        <a:spcBef>
          <a:spcPct val="0"/>
        </a:spcBef>
        <a:spcAft>
          <a:spcPct val="0"/>
        </a:spcAft>
        <a:defRPr sz="2215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478" y="1593"/>
          <a:ext cx="146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478" y="1593"/>
                        <a:ext cx="146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-5857" y="-10909"/>
            <a:ext cx="9144001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31" name="Rectangle 13"/>
          <p:cNvSpPr>
            <a:spLocks/>
          </p:cNvSpPr>
          <p:nvPr/>
        </p:nvSpPr>
        <p:spPr bwMode="auto">
          <a:xfrm rot="10800000">
            <a:off x="7164309" y="6332538"/>
            <a:ext cx="864577" cy="49211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ysClr val="windowText" lastClr="000000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32" name="Rectangle 12"/>
          <p:cNvSpPr>
            <a:spLocks/>
          </p:cNvSpPr>
          <p:nvPr/>
        </p:nvSpPr>
        <p:spPr bwMode="auto">
          <a:xfrm rot="10800000">
            <a:off x="8015697" y="6332538"/>
            <a:ext cx="1122485" cy="49211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ysClr val="windowText" lastClr="000000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33" name="Rectangle 14"/>
          <p:cNvSpPr>
            <a:spLocks/>
          </p:cNvSpPr>
          <p:nvPr/>
        </p:nvSpPr>
        <p:spPr bwMode="auto">
          <a:xfrm rot="10800000">
            <a:off x="6268916" y="6332538"/>
            <a:ext cx="895350" cy="49211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ysClr val="windowText" lastClr="000000"/>
              </a:solidFill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34" name="Rectangle 15"/>
          <p:cNvSpPr>
            <a:spLocks/>
          </p:cNvSpPr>
          <p:nvPr/>
        </p:nvSpPr>
        <p:spPr bwMode="auto">
          <a:xfrm rot="10800000">
            <a:off x="-5845" y="6332538"/>
            <a:ext cx="6274777" cy="49211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" sz="1662" kern="0">
              <a:solidFill>
                <a:sysClr val="windowText" lastClr="000000"/>
              </a:solidFill>
              <a:latin typeface="Trebuchet MS"/>
              <a:cs typeface="Arial" panose="020B0604020202020204" pitchFamily="34" charset="0"/>
            </a:endParaRPr>
          </a:p>
        </p:txBody>
      </p:sp>
      <p:grpSp>
        <p:nvGrpSpPr>
          <p:cNvPr id="36" name="Agrupar 13"/>
          <p:cNvGrpSpPr>
            <a:grpSpLocks/>
          </p:cNvGrpSpPr>
          <p:nvPr/>
        </p:nvGrpSpPr>
        <p:grpSpPr bwMode="auto">
          <a:xfrm flipH="1">
            <a:off x="-5862" y="836614"/>
            <a:ext cx="9144000" cy="49211"/>
            <a:chOff x="-6350" y="6332112"/>
            <a:chExt cx="9906000" cy="49216"/>
          </a:xfrm>
        </p:grpSpPr>
        <p:sp>
          <p:nvSpPr>
            <p:cNvPr id="37" name="Rectangle 13"/>
            <p:cNvSpPr>
              <a:spLocks/>
            </p:cNvSpPr>
            <p:nvPr userDrawn="1"/>
          </p:nvSpPr>
          <p:spPr bwMode="auto">
            <a:xfrm rot="10800000">
              <a:off x="7761312" y="6332112"/>
              <a:ext cx="936102" cy="49215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sz="1662" kern="0">
                <a:solidFill>
                  <a:sysClr val="windowText" lastClr="000000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38" name="Rectangle 12"/>
            <p:cNvSpPr>
              <a:spLocks/>
            </p:cNvSpPr>
            <p:nvPr userDrawn="1"/>
          </p:nvSpPr>
          <p:spPr bwMode="auto">
            <a:xfrm rot="10800000">
              <a:off x="8682892" y="6332114"/>
              <a:ext cx="1216758" cy="49148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sz="1662" kern="0">
                <a:solidFill>
                  <a:sysClr val="windowText" lastClr="000000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39" name="Rectangle 14"/>
            <p:cNvSpPr>
              <a:spLocks/>
            </p:cNvSpPr>
            <p:nvPr userDrawn="1"/>
          </p:nvSpPr>
          <p:spPr bwMode="auto">
            <a:xfrm rot="10800000">
              <a:off x="6791568" y="6332112"/>
              <a:ext cx="969744" cy="49215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sz="1662" kern="0">
                <a:solidFill>
                  <a:sysClr val="windowText" lastClr="000000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40" name="Rectangle 15"/>
            <p:cNvSpPr>
              <a:spLocks/>
            </p:cNvSpPr>
            <p:nvPr userDrawn="1"/>
          </p:nvSpPr>
          <p:spPr bwMode="auto">
            <a:xfrm rot="10800000">
              <a:off x="-6350" y="6332115"/>
              <a:ext cx="6797675" cy="49213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sz="1662" kern="0">
                <a:solidFill>
                  <a:sysClr val="windowText" lastClr="000000"/>
                </a:solidFill>
                <a:latin typeface="Trebuchet MS"/>
                <a:cs typeface="Arial" panose="020B0604020202020204" pitchFamily="34" charset="0"/>
              </a:endParaRPr>
            </a:p>
          </p:txBody>
        </p:sp>
      </p:grpSp>
      <p:sp>
        <p:nvSpPr>
          <p:cNvPr id="41" name="AutoShape 5"/>
          <p:cNvSpPr>
            <a:spLocks/>
          </p:cNvSpPr>
          <p:nvPr/>
        </p:nvSpPr>
        <p:spPr bwMode="auto">
          <a:xfrm>
            <a:off x="8028848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662" kern="0">
              <a:solidFill>
                <a:sysClr val="windowText" lastClr="000000"/>
              </a:solidFill>
              <a:latin typeface="Trebuchet MS"/>
              <a:cs typeface="Arial" panose="020B0604020202020204" pitchFamily="34" charset="0"/>
            </a:endParaRPr>
          </a:p>
        </p:txBody>
      </p:sp>
      <p:grpSp>
        <p:nvGrpSpPr>
          <p:cNvPr id="42" name="Grupo 1"/>
          <p:cNvGrpSpPr/>
          <p:nvPr/>
        </p:nvGrpSpPr>
        <p:grpSpPr>
          <a:xfrm>
            <a:off x="58869" y="6464195"/>
            <a:ext cx="1957587" cy="347874"/>
            <a:chOff x="58864" y="6464175"/>
            <a:chExt cx="1957589" cy="347874"/>
          </a:xfrm>
        </p:grpSpPr>
        <p:grpSp>
          <p:nvGrpSpPr>
            <p:cNvPr id="43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45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rgbClr val="003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662" kern="0">
                  <a:solidFill>
                    <a:sysClr val="windowText" lastClr="000000"/>
                  </a:solidFill>
                  <a:latin typeface="Trebuchet MS"/>
                  <a:cs typeface="Arial" panose="020B0604020202020204" pitchFamily="34" charset="0"/>
                </a:endParaRPr>
              </a:p>
            </p:txBody>
          </p:sp>
          <p:sp>
            <p:nvSpPr>
              <p:cNvPr id="46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662" kern="0">
                  <a:solidFill>
                    <a:sysClr val="windowText" lastClr="000000"/>
                  </a:solidFill>
                  <a:latin typeface="Trebuchet MS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4" name="22 CuadroTexto"/>
            <p:cNvSpPr txBox="1"/>
            <p:nvPr userDrawn="1"/>
          </p:nvSpPr>
          <p:spPr>
            <a:xfrm>
              <a:off x="58864" y="6577689"/>
              <a:ext cx="1957589" cy="2343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923" i="1" kern="0" dirty="0">
                  <a:solidFill>
                    <a:srgbClr val="4BACC6">
                      <a:lumMod val="7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COVER, DISRUPT, DELIVER</a:t>
              </a:r>
            </a:p>
          </p:txBody>
        </p:sp>
      </p:grpSp>
      <p:sp>
        <p:nvSpPr>
          <p:cNvPr id="47" name="TextBox 46"/>
          <p:cNvSpPr txBox="1">
            <a:spLocks noChangeArrowheads="1"/>
          </p:cNvSpPr>
          <p:nvPr/>
        </p:nvSpPr>
        <p:spPr bwMode="gray">
          <a:xfrm>
            <a:off x="4297023" y="6535854"/>
            <a:ext cx="51117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84406" tIns="42203" rIns="84406" bIns="42203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1000">
                <a:solidFill>
                  <a:srgbClr val="072534"/>
                </a:solidFill>
                <a:latin typeface="Trebuchet MS" pitchFamily="34" charset="0"/>
              </a:defRPr>
            </a:lvl1pPr>
          </a:lstStyle>
          <a:p>
            <a:pPr algn="ctr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5D33EE1-E5CA-4D6E-B095-AB5B5FA687D6}" type="slidenum">
              <a:rPr lang="en-GB" sz="923" kern="0" smtClean="0">
                <a:latin typeface="Trebuchet MS"/>
                <a:cs typeface="Arial" panose="020B0604020202020204" pitchFamily="34" charset="0"/>
              </a:rPr>
              <a:pPr algn="ctr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GB" sz="923" kern="0" dirty="0">
              <a:latin typeface="Trebuchet MS"/>
              <a:cs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265849" y="1268414"/>
            <a:ext cx="8593477" cy="46841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8749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</p:sldLayoutIdLst>
  <p:transition/>
  <p:hf hdr="0" ftr="0"/>
  <p:txStyles>
    <p:titleStyle>
      <a:lvl1pPr marL="161196" indent="0" algn="l" defTabSz="844083" rtl="0" eaLnBrk="1" latinLnBrk="0" hangingPunct="1">
        <a:spcBef>
          <a:spcPct val="0"/>
        </a:spcBef>
        <a:buNone/>
        <a:tabLst/>
        <a:defRPr lang="de-DE" sz="1846" b="1" kern="1200" baseline="0" dirty="0">
          <a:solidFill>
            <a:schemeClr val="tx1"/>
          </a:solidFill>
          <a:latin typeface="Trebuchet MS" pitchFamily="34" charset="0"/>
          <a:ea typeface="ヒラギノ角ゴ Pro W3" charset="-128"/>
          <a:cs typeface="+mn-cs"/>
          <a:sym typeface="Trebuchet MS" pitchFamily="34" charset="0"/>
        </a:defRPr>
      </a:lvl1pPr>
    </p:titleStyle>
    <p:bodyStyle>
      <a:lvl1pPr marL="263776" indent="-263776" algn="l" defTabSz="844083" rtl="0" eaLnBrk="1" latinLnBrk="0" hangingPunct="1">
        <a:spcBef>
          <a:spcPts val="1772"/>
        </a:spcBef>
        <a:buClr>
          <a:schemeClr val="accent3"/>
        </a:buClr>
        <a:buFont typeface="Wingdings 3" panose="05040102010807070707" pitchFamily="18" charset="2"/>
        <a:buChar char=""/>
        <a:defRPr lang="en-US" altLang="en-US" sz="1662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98243" indent="-252052" algn="l" defTabSz="844083" rtl="0" eaLnBrk="1" latinLnBrk="0" hangingPunct="1">
        <a:lnSpc>
          <a:spcPct val="90000"/>
        </a:lnSpc>
        <a:spcBef>
          <a:spcPts val="709"/>
        </a:spcBef>
        <a:buClr>
          <a:schemeClr val="accent3"/>
        </a:buClr>
        <a:buFont typeface="Arial" pitchFamily="34" charset="0"/>
        <a:buChar char="–"/>
        <a:defRPr lang="en-US" altLang="en-US" sz="1662" kern="120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744434" indent="-246191" algn="l" defTabSz="844083" rtl="0" eaLnBrk="1" latinLnBrk="0" hangingPunct="1">
        <a:lnSpc>
          <a:spcPct val="90000"/>
        </a:lnSpc>
        <a:spcBef>
          <a:spcPts val="709"/>
        </a:spcBef>
        <a:buClr>
          <a:schemeClr val="accent3"/>
        </a:buClr>
        <a:buFont typeface="Arial" pitchFamily="34" charset="0"/>
        <a:buChar char="•"/>
        <a:defRPr lang="en-US" altLang="en-US" sz="1662" kern="120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989160" indent="-244726" algn="l" defTabSz="844083" rtl="0" eaLnBrk="1" latinLnBrk="0" hangingPunct="1">
        <a:lnSpc>
          <a:spcPct val="90000"/>
        </a:lnSpc>
        <a:spcBef>
          <a:spcPts val="709"/>
        </a:spcBef>
        <a:buClr>
          <a:schemeClr val="accent3"/>
        </a:buClr>
        <a:buFont typeface="Arial" pitchFamily="34" charset="0"/>
        <a:buChar char="–"/>
        <a:defRPr lang="en-US" altLang="en-US" sz="1477" kern="120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242677" indent="-253518" algn="l" defTabSz="844083" rtl="0" eaLnBrk="1" latinLnBrk="0" hangingPunct="1">
        <a:lnSpc>
          <a:spcPct val="90000"/>
        </a:lnSpc>
        <a:spcBef>
          <a:spcPts val="709"/>
        </a:spcBef>
        <a:buClr>
          <a:schemeClr val="accent3"/>
        </a:buClr>
        <a:buFont typeface="Arial" pitchFamily="34" charset="0"/>
        <a:buChar char="•"/>
        <a:defRPr lang="en-US" altLang="en-US" sz="1477" kern="120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15891"/>
            <a:ext cx="8229600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3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28" name="AutoShape 10"/>
          <p:cNvSpPr>
            <a:spLocks/>
          </p:cNvSpPr>
          <p:nvPr/>
        </p:nvSpPr>
        <p:spPr bwMode="auto">
          <a:xfrm>
            <a:off x="4343400" y="6400802"/>
            <a:ext cx="457200" cy="254000"/>
          </a:xfrm>
          <a:prstGeom prst="roundRect">
            <a:avLst>
              <a:gd name="adj" fmla="val 50000"/>
            </a:avLst>
          </a:prstGeom>
          <a:noFill/>
          <a:ln w="19050" cap="rnd">
            <a:solidFill>
              <a:srgbClr val="44B5CA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hangingPunct="1"/>
            <a:endParaRPr lang="es-ES" sz="28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sp>
        <p:nvSpPr>
          <p:cNvPr id="1029" name="Rectangle 3"/>
          <p:cNvSpPr>
            <a:spLocks/>
          </p:cNvSpPr>
          <p:nvPr/>
        </p:nvSpPr>
        <p:spPr bwMode="auto">
          <a:xfrm>
            <a:off x="4448571" y="6445253"/>
            <a:ext cx="246862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 hangingPunct="1"/>
            <a:fld id="{C017C531-DF14-48E4-8391-5A817F170197}" type="slidenum">
              <a:rPr lang="en-US" sz="1100">
                <a:solidFill>
                  <a:srgbClr val="003F52"/>
                </a:solidFill>
                <a:latin typeface="Arial" pitchFamily="34" charset="0"/>
                <a:ea typeface="MS PGothic" pitchFamily="34" charset="-128"/>
                <a:sym typeface="Arial" pitchFamily="34" charset="0"/>
              </a:rPr>
              <a:pPr algn="ctr" hangingPunct="1"/>
              <a:t>‹Nº›</a:t>
            </a:fld>
            <a:endParaRPr lang="en-US" sz="1100">
              <a:solidFill>
                <a:srgbClr val="003F52"/>
              </a:solidFill>
              <a:latin typeface="Arial" pitchFamily="34" charset="0"/>
              <a:ea typeface="MS PGothic" pitchFamily="34" charset="-128"/>
              <a:sym typeface="Arial" pitchFamily="34" charset="0"/>
            </a:endParaRPr>
          </a:p>
        </p:txBody>
      </p:sp>
      <p:pic>
        <p:nvPicPr>
          <p:cNvPr id="1030" name="Picture 1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2900" y="6399217"/>
            <a:ext cx="10160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Rectangle 12"/>
          <p:cNvSpPr>
            <a:spLocks/>
          </p:cNvSpPr>
          <p:nvPr/>
        </p:nvSpPr>
        <p:spPr bwMode="auto">
          <a:xfrm>
            <a:off x="128589" y="6371222"/>
            <a:ext cx="83356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hangingPunct="1"/>
            <a:r>
              <a:rPr lang="en-US" sz="1100">
                <a:solidFill>
                  <a:srgbClr val="162E3E"/>
                </a:solidFill>
                <a:latin typeface="Arial Bold"/>
                <a:ea typeface="MS PGothic" pitchFamily="34" charset="-128"/>
                <a:sym typeface="Arial Bold"/>
              </a:rPr>
              <a:t>Area</a:t>
            </a:r>
          </a:p>
          <a:p>
            <a:pPr hangingPunct="1"/>
            <a:r>
              <a:rPr lang="en-US" sz="1100">
                <a:solidFill>
                  <a:srgbClr val="162E3E"/>
                </a:solidFill>
                <a:latin typeface="Arial" pitchFamily="34" charset="0"/>
                <a:ea typeface="MS PGothic" pitchFamily="34" charset="-128"/>
                <a:sym typeface="Arial" pitchFamily="34" charset="0"/>
              </a:rPr>
              <a:t>Razón Social</a:t>
            </a:r>
          </a:p>
        </p:txBody>
      </p:sp>
      <p:pic>
        <p:nvPicPr>
          <p:cNvPr id="1032" name="Picture 1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0" y="6197603"/>
            <a:ext cx="8763000" cy="36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1"/>
          <p:cNvSpPr>
            <a:spLocks/>
          </p:cNvSpPr>
          <p:nvPr/>
        </p:nvSpPr>
        <p:spPr bwMode="auto">
          <a:xfrm>
            <a:off x="0" y="2"/>
            <a:ext cx="368300" cy="647700"/>
          </a:xfrm>
          <a:prstGeom prst="rect">
            <a:avLst/>
          </a:prstGeom>
          <a:gradFill rotWithShape="0">
            <a:gsLst>
              <a:gs pos="0">
                <a:srgbClr val="0A1519"/>
              </a:gs>
              <a:gs pos="100000">
                <a:srgbClr val="2A5E77"/>
              </a:gs>
            </a:gsLst>
            <a:lin ang="27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" sz="2800">
              <a:solidFill>
                <a:srgbClr val="000000"/>
              </a:solidFill>
              <a:latin typeface="Arial" pitchFamily="34" charset="0"/>
              <a:cs typeface="Arial" pitchFamily="34" charset="0"/>
              <a:sym typeface="Gill Sans" pitchFamily="34" charset="0"/>
            </a:endParaRPr>
          </a:p>
        </p:txBody>
      </p:sp>
      <p:sp>
        <p:nvSpPr>
          <p:cNvPr id="10" name="Rectangle 1"/>
          <p:cNvSpPr>
            <a:spLocks/>
          </p:cNvSpPr>
          <p:nvPr userDrawn="1"/>
        </p:nvSpPr>
        <p:spPr bwMode="auto">
          <a:xfrm>
            <a:off x="-12700" y="-25028"/>
            <a:ext cx="9188450" cy="6941432"/>
          </a:xfrm>
          <a:prstGeom prst="rect">
            <a:avLst/>
          </a:prstGeom>
          <a:gradFill rotWithShape="0">
            <a:gsLst>
              <a:gs pos="0">
                <a:srgbClr val="1C6793"/>
              </a:gs>
              <a:gs pos="100000">
                <a:srgbClr val="092432"/>
              </a:gs>
            </a:gsLst>
            <a:path path="rect">
              <a:fillToRect l="49054" t="14149" r="50946" b="85851"/>
            </a:path>
          </a:gra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_tradnl" sz="47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sp>
        <p:nvSpPr>
          <p:cNvPr id="11" name="AutoShape 2"/>
          <p:cNvSpPr>
            <a:spLocks/>
          </p:cNvSpPr>
          <p:nvPr userDrawn="1"/>
        </p:nvSpPr>
        <p:spPr bwMode="auto">
          <a:xfrm>
            <a:off x="95250" y="-4172"/>
            <a:ext cx="5422900" cy="892708"/>
          </a:xfrm>
          <a:prstGeom prst="roundRect">
            <a:avLst>
              <a:gd name="adj" fmla="val 0"/>
            </a:avLst>
          </a:prstGeom>
          <a:gradFill rotWithShape="0">
            <a:gsLst>
              <a:gs pos="0">
                <a:srgbClr val="122E41">
                  <a:alpha val="23000"/>
                </a:srgbClr>
              </a:gs>
              <a:gs pos="100000">
                <a:srgbClr val="122E41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>
                    <a:alpha val="23137"/>
                  </a:srgbClr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_tradnl" sz="47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4200" y="6414775"/>
            <a:ext cx="79375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3" name="Line 4"/>
          <p:cNvSpPr>
            <a:spLocks noChangeShapeType="1"/>
          </p:cNvSpPr>
          <p:nvPr userDrawn="1"/>
        </p:nvSpPr>
        <p:spPr bwMode="auto">
          <a:xfrm>
            <a:off x="-50797" y="6248956"/>
            <a:ext cx="9230519" cy="0"/>
          </a:xfrm>
          <a:prstGeom prst="line">
            <a:avLst/>
          </a:prstGeom>
          <a:noFill/>
          <a:ln w="25400" cap="rnd">
            <a:solidFill>
              <a:srgbClr val="FFFFFF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0" tIns="0" rIns="0" bIns="0"/>
          <a:lstStyle/>
          <a:p>
            <a:pPr algn="ctr" hangingPunct="1"/>
            <a:endParaRPr lang="es-ES" sz="47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  <p:sp>
        <p:nvSpPr>
          <p:cNvPr id="14" name="AutoShape 5"/>
          <p:cNvSpPr>
            <a:spLocks/>
          </p:cNvSpPr>
          <p:nvPr userDrawn="1"/>
        </p:nvSpPr>
        <p:spPr bwMode="auto">
          <a:xfrm>
            <a:off x="0" y="-4172"/>
            <a:ext cx="95250" cy="892708"/>
          </a:xfrm>
          <a:prstGeom prst="roundRect">
            <a:avLst>
              <a:gd name="adj" fmla="val 0"/>
            </a:avLst>
          </a:prstGeom>
          <a:gradFill rotWithShape="0">
            <a:gsLst>
              <a:gs pos="0">
                <a:srgbClr val="7FF6FF"/>
              </a:gs>
              <a:gs pos="54921">
                <a:srgbClr val="2AB9D0"/>
              </a:gs>
              <a:gs pos="100000">
                <a:srgbClr val="006976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5B92AD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hangingPunct="1"/>
            <a:endParaRPr lang="es-ES_tradnl" sz="4700">
              <a:solidFill>
                <a:srgbClr val="000000"/>
              </a:solidFill>
              <a:latin typeface="Gill Sans" pitchFamily="34" charset="0"/>
              <a:sym typeface="Gill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057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5pPr>
      <a:lvl6pPr marL="457166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6pPr>
      <a:lvl7pPr marL="914333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7pPr>
      <a:lvl8pPr marL="1371499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8pPr>
      <a:lvl9pPr marL="1828666" algn="l" rtl="0" fontAlgn="base">
        <a:spcBef>
          <a:spcPct val="0"/>
        </a:spcBef>
        <a:spcAft>
          <a:spcPct val="0"/>
        </a:spcAft>
        <a:defRPr sz="2800">
          <a:solidFill>
            <a:srgbClr val="00BACF"/>
          </a:solidFill>
          <a:latin typeface="Arial" pitchFamily="34" charset="0"/>
        </a:defRPr>
      </a:lvl9pPr>
    </p:titleStyle>
    <p:bodyStyle>
      <a:lvl1pPr marL="342875" indent="-342875" algn="l" rtl="0" eaLnBrk="0" fontAlgn="base" hangingPunct="0">
        <a:spcBef>
          <a:spcPct val="20000"/>
        </a:spcBef>
        <a:spcAft>
          <a:spcPct val="0"/>
        </a:spcAft>
        <a:buClr>
          <a:srgbClr val="00BACF"/>
        </a:buClr>
        <a:buSzPct val="200000"/>
        <a:buChar char="•"/>
        <a:defRPr>
          <a:solidFill>
            <a:srgbClr val="255C81"/>
          </a:solidFill>
          <a:latin typeface="+mn-lt"/>
          <a:ea typeface="+mn-ea"/>
          <a:cs typeface="+mn-cs"/>
        </a:defRPr>
      </a:lvl1pPr>
      <a:lvl2pPr marL="742895" indent="-285729" algn="l" rtl="0" eaLnBrk="0" fontAlgn="base" hangingPunct="0">
        <a:spcBef>
          <a:spcPct val="20000"/>
        </a:spcBef>
        <a:spcAft>
          <a:spcPct val="0"/>
        </a:spcAft>
        <a:buClr>
          <a:srgbClr val="00BACF"/>
        </a:buClr>
        <a:buFont typeface="Wingdings" pitchFamily="2" charset="2"/>
        <a:buChar char="§"/>
        <a:defRPr sz="1600">
          <a:solidFill>
            <a:srgbClr val="255C81"/>
          </a:solidFill>
          <a:latin typeface="+mn-lt"/>
        </a:defRPr>
      </a:lvl2pPr>
      <a:lvl3pPr marL="1142916" indent="-228583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255C81"/>
          </a:solidFill>
          <a:latin typeface="+mn-lt"/>
        </a:defRPr>
      </a:lvl3pPr>
      <a:lvl4pPr marL="1600082" indent="-22858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255C81"/>
          </a:solidFill>
          <a:latin typeface="+mn-lt"/>
        </a:defRPr>
      </a:lvl4pPr>
      <a:lvl5pPr marL="2057248" indent="-22858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5pPr>
      <a:lvl6pPr marL="2514415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6pPr>
      <a:lvl7pPr marL="2971581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7pPr>
      <a:lvl8pPr marL="3428748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8pPr>
      <a:lvl9pPr marL="3885914" indent="-228583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255C81"/>
          </a:solidFill>
          <a:latin typeface="+mn-lt"/>
        </a:defRPr>
      </a:lvl9pPr>
    </p:bodyStyle>
    <p:otherStyle>
      <a:defPPr>
        <a:defRPr lang="es-ES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4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1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AutoShape 5"/>
          <p:cNvSpPr>
            <a:spLocks/>
          </p:cNvSpPr>
          <p:nvPr/>
        </p:nvSpPr>
        <p:spPr bwMode="auto">
          <a:xfrm>
            <a:off x="8028848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</a:pPr>
            <a:endParaRPr lang="en-GB" sz="1662">
              <a:solidFill>
                <a:srgbClr val="003245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6148" name="Rectangle 13"/>
          <p:cNvSpPr>
            <a:spLocks/>
          </p:cNvSpPr>
          <p:nvPr/>
        </p:nvSpPr>
        <p:spPr bwMode="auto">
          <a:xfrm rot="10800000">
            <a:off x="7164297" y="6332538"/>
            <a:ext cx="864577" cy="49211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</a:pPr>
            <a:endParaRPr lang="es-ES" sz="1662">
              <a:solidFill>
                <a:srgbClr val="003245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6149" name="Rectangle 12"/>
          <p:cNvSpPr>
            <a:spLocks/>
          </p:cNvSpPr>
          <p:nvPr/>
        </p:nvSpPr>
        <p:spPr bwMode="auto">
          <a:xfrm rot="10800000">
            <a:off x="8015685" y="6332538"/>
            <a:ext cx="1122485" cy="49211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</a:pPr>
            <a:endParaRPr lang="es-ES" sz="1662">
              <a:solidFill>
                <a:srgbClr val="003245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6150" name="Rectangle 14"/>
          <p:cNvSpPr>
            <a:spLocks/>
          </p:cNvSpPr>
          <p:nvPr/>
        </p:nvSpPr>
        <p:spPr bwMode="auto">
          <a:xfrm rot="10800000">
            <a:off x="6268916" y="6332538"/>
            <a:ext cx="895350" cy="49211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</a:pPr>
            <a:endParaRPr lang="es-ES" sz="1662">
              <a:solidFill>
                <a:srgbClr val="003245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6151" name="Rectangle 15"/>
          <p:cNvSpPr>
            <a:spLocks/>
          </p:cNvSpPr>
          <p:nvPr/>
        </p:nvSpPr>
        <p:spPr bwMode="auto">
          <a:xfrm rot="10800000">
            <a:off x="-5854" y="6332538"/>
            <a:ext cx="6274777" cy="49211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</a:pPr>
            <a:endParaRPr lang="es-ES" sz="1662">
              <a:solidFill>
                <a:srgbClr val="003245"/>
              </a:solidFill>
              <a:latin typeface="Trebuchet MS"/>
              <a:cs typeface="Arial" pitchFamily="34" charset="0"/>
            </a:endParaRP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425884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923" smtClean="0">
                <a:solidFill>
                  <a:srgbClr val="072534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 fontAlgn="auto" hangingPunct="1">
              <a:spcBef>
                <a:spcPts val="0"/>
              </a:spcBef>
              <a:spcAft>
                <a:spcPts val="0"/>
              </a:spcAft>
            </a:pPr>
            <a:fld id="{9D9F8B9A-560A-470D-9EA6-79F5999904E6}" type="slidenum">
              <a:rPr lang="en-GB" smtClean="0">
                <a:cs typeface="Arial" pitchFamily="34" charset="0"/>
              </a:rPr>
              <a:pPr fontAlgn="auto" hangingPunct="1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GB" dirty="0">
              <a:cs typeface="Arial" pitchFamily="34" charset="0"/>
            </a:endParaRPr>
          </a:p>
        </p:txBody>
      </p:sp>
      <p:grpSp>
        <p:nvGrpSpPr>
          <p:cNvPr id="11" name="Grupo 10"/>
          <p:cNvGrpSpPr/>
          <p:nvPr userDrawn="1"/>
        </p:nvGrpSpPr>
        <p:grpSpPr>
          <a:xfrm>
            <a:off x="58867" y="6464174"/>
            <a:ext cx="1957587" cy="347874"/>
            <a:chOff x="58864" y="6464175"/>
            <a:chExt cx="1957588" cy="347874"/>
          </a:xfrm>
        </p:grpSpPr>
        <p:grpSp>
          <p:nvGrpSpPr>
            <p:cNvPr id="12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15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GB" sz="1662">
                  <a:solidFill>
                    <a:srgbClr val="003245"/>
                  </a:solidFill>
                  <a:latin typeface="Trebuchet MS"/>
                  <a:cs typeface="Arial" pitchFamily="34" charset="0"/>
                </a:endParaRPr>
              </a:p>
            </p:txBody>
          </p:sp>
          <p:sp>
            <p:nvSpPr>
              <p:cNvPr id="16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pPr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en-GB" sz="1662">
                  <a:solidFill>
                    <a:srgbClr val="003245"/>
                  </a:solidFill>
                  <a:latin typeface="Trebuchet MS"/>
                  <a:cs typeface="Arial" pitchFamily="34" charset="0"/>
                </a:endParaRPr>
              </a:p>
            </p:txBody>
          </p:sp>
        </p:grpSp>
        <p:sp>
          <p:nvSpPr>
            <p:cNvPr id="13" name="22 CuadroTexto"/>
            <p:cNvSpPr txBox="1"/>
            <p:nvPr userDrawn="1"/>
          </p:nvSpPr>
          <p:spPr>
            <a:xfrm>
              <a:off x="58864" y="6577689"/>
              <a:ext cx="1957588" cy="2343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923" i="1" dirty="0">
                  <a:solidFill>
                    <a:srgbClr val="4BACC6">
                      <a:lumMod val="75000"/>
                    </a:srgbClr>
                  </a:solidFill>
                  <a:latin typeface="Arial" pitchFamily="34" charset="0"/>
                  <a:cs typeface="Arial" pitchFamily="34" charset="0"/>
                </a:rPr>
                <a:t>DISCOVER, DISRUPT, DELI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1660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85">
          <a:solidFill>
            <a:srgbClr val="17B4C6"/>
          </a:solidFill>
          <a:latin typeface="+mj-lt"/>
          <a:ea typeface="+mj-ea"/>
          <a:cs typeface="+mj-cs"/>
          <a:sym typeface="Gill Sans" pitchFamily="122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122" charset="0"/>
        </a:defRPr>
      </a:lvl5pPr>
      <a:lvl6pPr marL="422041" algn="ctr" rtl="0" fontAlgn="base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844083" algn="ctr" rtl="0" fontAlgn="base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266124" algn="ctr" rtl="0" fontAlgn="base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688165" algn="ctr" rtl="0" fontAlgn="base">
        <a:spcBef>
          <a:spcPct val="0"/>
        </a:spcBef>
        <a:spcAft>
          <a:spcPct val="0"/>
        </a:spcAft>
        <a:defRPr sz="5354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820636" indent="-527552" algn="l" rtl="0" eaLnBrk="0" fontAlgn="base" hangingPunct="0">
        <a:spcBef>
          <a:spcPts val="3139"/>
        </a:spcBef>
        <a:spcAft>
          <a:spcPct val="0"/>
        </a:spcAft>
        <a:buSzPct val="171000"/>
        <a:buFont typeface="Gill Sans" pitchFamily="122" charset="0"/>
        <a:buChar char="•"/>
        <a:defRPr sz="2585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1pPr>
      <a:lvl2pPr marL="1230954" indent="-527552" algn="l" rtl="0" eaLnBrk="0" fontAlgn="base" hangingPunct="0">
        <a:spcBef>
          <a:spcPts val="3139"/>
        </a:spcBef>
        <a:spcAft>
          <a:spcPct val="0"/>
        </a:spcAft>
        <a:buSzPct val="171000"/>
        <a:buFont typeface="Gill Sans" pitchFamily="122" charset="0"/>
        <a:buChar char="•"/>
        <a:defRPr sz="2585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2pPr>
      <a:lvl3pPr marL="1641272" indent="-527552" algn="l" rtl="0" eaLnBrk="0" fontAlgn="base" hangingPunct="0">
        <a:spcBef>
          <a:spcPts val="3139"/>
        </a:spcBef>
        <a:spcAft>
          <a:spcPct val="0"/>
        </a:spcAft>
        <a:buSzPct val="171000"/>
        <a:buFont typeface="Gill Sans" pitchFamily="122" charset="0"/>
        <a:buChar char="•"/>
        <a:defRPr sz="2585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3pPr>
      <a:lvl4pPr marL="2051590" indent="-527552" algn="l" rtl="0" eaLnBrk="0" fontAlgn="base" hangingPunct="0">
        <a:spcBef>
          <a:spcPts val="3139"/>
        </a:spcBef>
        <a:spcAft>
          <a:spcPct val="0"/>
        </a:spcAft>
        <a:buSzPct val="171000"/>
        <a:buFont typeface="Gill Sans" pitchFamily="122" charset="0"/>
        <a:buChar char="•"/>
        <a:defRPr sz="2585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4pPr>
      <a:lvl5pPr marL="2461908" indent="-527552" algn="l" rtl="0" eaLnBrk="0" fontAlgn="base" hangingPunct="0">
        <a:spcBef>
          <a:spcPts val="3139"/>
        </a:spcBef>
        <a:spcAft>
          <a:spcPct val="0"/>
        </a:spcAft>
        <a:buSzPct val="171000"/>
        <a:buFont typeface="Gill Sans" pitchFamily="122" charset="0"/>
        <a:buChar char="•"/>
        <a:defRPr sz="2585">
          <a:solidFill>
            <a:schemeClr val="tx1"/>
          </a:solidFill>
          <a:latin typeface="+mn-lt"/>
          <a:ea typeface="+mn-ea"/>
          <a:cs typeface="+mn-cs"/>
          <a:sym typeface="Gill Sans" pitchFamily="122" charset="0"/>
        </a:defRPr>
      </a:lvl5pPr>
      <a:lvl6pPr marL="2883949" indent="-527552" algn="l" rtl="0" fontAlgn="base">
        <a:spcBef>
          <a:spcPts val="3139"/>
        </a:spcBef>
        <a:spcAft>
          <a:spcPct val="0"/>
        </a:spcAft>
        <a:buSzPct val="171000"/>
        <a:buFont typeface="Gill Sans" charset="0"/>
        <a:buChar char="•"/>
        <a:defRPr sz="2585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3305990" indent="-527552" algn="l" rtl="0" fontAlgn="base">
        <a:spcBef>
          <a:spcPts val="3139"/>
        </a:spcBef>
        <a:spcAft>
          <a:spcPct val="0"/>
        </a:spcAft>
        <a:buSzPct val="171000"/>
        <a:buFont typeface="Gill Sans" charset="0"/>
        <a:buChar char="•"/>
        <a:defRPr sz="2585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3728032" indent="-527552" algn="l" rtl="0" fontAlgn="base">
        <a:spcBef>
          <a:spcPts val="3139"/>
        </a:spcBef>
        <a:spcAft>
          <a:spcPct val="0"/>
        </a:spcAft>
        <a:buSzPct val="171000"/>
        <a:buFont typeface="Gill Sans" charset="0"/>
        <a:buChar char="•"/>
        <a:defRPr sz="2585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4150073" indent="-527552" algn="l" rtl="0" fontAlgn="base">
        <a:spcBef>
          <a:spcPts val="3139"/>
        </a:spcBef>
        <a:spcAft>
          <a:spcPct val="0"/>
        </a:spcAft>
        <a:buSzPct val="171000"/>
        <a:buFont typeface="Gill Sans" charset="0"/>
        <a:buChar char="•"/>
        <a:defRPr sz="2585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iff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97768" y="2732923"/>
            <a:ext cx="8350696" cy="432048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Gobierno, Riesgo y Cumplimiento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sz="3600" dirty="0">
                <a:solidFill>
                  <a:schemeClr val="tx1"/>
                </a:solidFill>
              </a:rPr>
              <a:t>Gobierno de la Seguridad</a:t>
            </a: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323528" y="2780928"/>
            <a:ext cx="8568951" cy="1440160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000" b="1" i="1" kern="1200" baseline="0">
                <a:solidFill>
                  <a:schemeClr val="bg1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r>
              <a:rPr lang="en-US" dirty="0">
                <a:solidFill>
                  <a:prstClr val="white"/>
                </a:solidFill>
                <a:sym typeface="Gill Sans" charset="0"/>
              </a:rPr>
              <a:t>Gobierno, Riesgo y Cumplimiento </a:t>
            </a:r>
            <a:r>
              <a:rPr lang="en-US" sz="3600" dirty="0">
                <a:solidFill>
                  <a:prstClr val="white"/>
                </a:solidFill>
                <a:sym typeface="Gill Sans" charset="0"/>
              </a:rPr>
              <a:t>Gobierno de la Seguridad</a:t>
            </a:r>
          </a:p>
        </p:txBody>
      </p:sp>
      <p:pic>
        <p:nvPicPr>
          <p:cNvPr id="5" name="Picture 2" descr="http://www.hablamosdeeuropa.es/PublishingImages/EFE/ConnectingEurope.jpg">
            <a:extLst>
              <a:ext uri="{FF2B5EF4-FFF2-40B4-BE49-F238E27FC236}">
                <a16:creationId xmlns:a16="http://schemas.microsoft.com/office/drawing/2014/main" id="{7044D0BC-5CE3-634A-B534-4F69DCE82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5732" y="0"/>
            <a:ext cx="9178925" cy="6867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ítulo 3">
            <a:extLst>
              <a:ext uri="{FF2B5EF4-FFF2-40B4-BE49-F238E27FC236}">
                <a16:creationId xmlns:a16="http://schemas.microsoft.com/office/drawing/2014/main" id="{23C0C11E-0B02-B445-842D-9185D8C6E111}"/>
              </a:ext>
            </a:extLst>
          </p:cNvPr>
          <p:cNvSpPr txBox="1">
            <a:spLocks/>
          </p:cNvSpPr>
          <p:nvPr/>
        </p:nvSpPr>
        <p:spPr>
          <a:xfrm flipH="1">
            <a:off x="3995936" y="4289568"/>
            <a:ext cx="5328592" cy="83661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5pPr>
            <a:lvl6pPr marL="457166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6pPr>
            <a:lvl7pPr marL="914333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7pPr>
            <a:lvl8pPr marL="1371499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8pPr>
            <a:lvl9pPr marL="1828666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2600" b="1" kern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Sandas GRC </a:t>
            </a:r>
            <a:r>
              <a:rPr lang="en-US" sz="2600" kern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– </a:t>
            </a:r>
          </a:p>
          <a:p>
            <a:r>
              <a:rPr lang="en-US" sz="2600" kern="1200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Gobierno</a:t>
            </a:r>
            <a:r>
              <a:rPr lang="en-US" sz="2600" kern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, Riesgo y Cumplimien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6B17DE4-05D4-E447-8220-25DC4A2510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5346" y="994026"/>
            <a:ext cx="2603500" cy="231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5125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34 CuadroTexto"/>
          <p:cNvSpPr txBox="1"/>
          <p:nvPr/>
        </p:nvSpPr>
        <p:spPr>
          <a:xfrm>
            <a:off x="226445" y="692696"/>
            <a:ext cx="5425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C6DA">
                    <a:lumMod val="60000"/>
                    <a:lumOff val="40000"/>
                  </a:srgbClr>
                </a:solidFill>
                <a:latin typeface="Segoe Print"/>
                <a:ea typeface="Calibri"/>
                <a:sym typeface="Trebuchet MS" pitchFamily="34" charset="0"/>
              </a:rPr>
              <a:t>Gobierno de la Seguridad de la Información</a:t>
            </a:r>
          </a:p>
        </p:txBody>
      </p:sp>
      <p:sp>
        <p:nvSpPr>
          <p:cNvPr id="11" name="10 Nube"/>
          <p:cNvSpPr/>
          <p:nvPr/>
        </p:nvSpPr>
        <p:spPr bwMode="auto">
          <a:xfrm rot="11507689">
            <a:off x="457548" y="4250790"/>
            <a:ext cx="2426506" cy="1829807"/>
          </a:xfrm>
          <a:prstGeom prst="cloud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2" name="11 Nube"/>
          <p:cNvSpPr/>
          <p:nvPr/>
        </p:nvSpPr>
        <p:spPr bwMode="auto">
          <a:xfrm>
            <a:off x="6227897" y="4669266"/>
            <a:ext cx="2520179" cy="1784070"/>
          </a:xfrm>
          <a:prstGeom prst="cloud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800" b="0" i="0" u="none" strike="noStrike" cap="none" normalizeH="0" baseline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3" name="12 Rectángulo redondeado"/>
          <p:cNvSpPr/>
          <p:nvPr/>
        </p:nvSpPr>
        <p:spPr bwMode="auto">
          <a:xfrm>
            <a:off x="683568" y="4093202"/>
            <a:ext cx="1967057" cy="864096"/>
          </a:xfrm>
          <a:prstGeom prst="roundRect">
            <a:avLst>
              <a:gd name="adj" fmla="val 27884"/>
            </a:avLst>
          </a:prstGeom>
          <a:gradFill rotWithShape="1">
            <a:gsLst>
              <a:gs pos="0">
                <a:srgbClr val="043F52">
                  <a:shade val="51000"/>
                  <a:satMod val="130000"/>
                </a:srgbClr>
              </a:gs>
              <a:gs pos="80000">
                <a:srgbClr val="043F52">
                  <a:shade val="93000"/>
                  <a:satMod val="130000"/>
                </a:srgbClr>
              </a:gs>
              <a:gs pos="100000">
                <a:srgbClr val="043F52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043F52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" sz="20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SEGURIDAD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" sz="20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ELEC / FÍSICA</a:t>
            </a:r>
          </a:p>
        </p:txBody>
      </p:sp>
      <p:sp>
        <p:nvSpPr>
          <p:cNvPr id="14" name="13 Rectángulo redondeado"/>
          <p:cNvSpPr/>
          <p:nvPr/>
        </p:nvSpPr>
        <p:spPr bwMode="auto">
          <a:xfrm>
            <a:off x="6588224" y="4201214"/>
            <a:ext cx="1676085" cy="648072"/>
          </a:xfrm>
          <a:prstGeom prst="roundRect">
            <a:avLst>
              <a:gd name="adj" fmla="val 27884"/>
            </a:avLst>
          </a:prstGeom>
          <a:gradFill rotWithShape="1">
            <a:gsLst>
              <a:gs pos="0">
                <a:srgbClr val="043F52">
                  <a:shade val="51000"/>
                  <a:satMod val="130000"/>
                </a:srgbClr>
              </a:gs>
              <a:gs pos="80000">
                <a:srgbClr val="043F52">
                  <a:shade val="93000"/>
                  <a:satMod val="130000"/>
                </a:srgbClr>
              </a:gs>
              <a:gs pos="100000">
                <a:srgbClr val="043F52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043F52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" sz="20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SEGURIDAD LÓGICA</a:t>
            </a:r>
          </a:p>
        </p:txBody>
      </p:sp>
      <p:sp>
        <p:nvSpPr>
          <p:cNvPr id="15" name="14 Flecha abajo"/>
          <p:cNvSpPr/>
          <p:nvPr/>
        </p:nvSpPr>
        <p:spPr bwMode="auto">
          <a:xfrm rot="18066445">
            <a:off x="5895279" y="3997987"/>
            <a:ext cx="421010" cy="647959"/>
          </a:xfrm>
          <a:prstGeom prst="downArrow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6" name="15 Flecha abajo"/>
          <p:cNvSpPr/>
          <p:nvPr/>
        </p:nvSpPr>
        <p:spPr bwMode="auto">
          <a:xfrm rot="3329543">
            <a:off x="2803509" y="4044158"/>
            <a:ext cx="421010" cy="647959"/>
          </a:xfrm>
          <a:prstGeom prst="downArrow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0" name="19 Rectángulo redondeado"/>
          <p:cNvSpPr/>
          <p:nvPr/>
        </p:nvSpPr>
        <p:spPr bwMode="auto">
          <a:xfrm>
            <a:off x="540252" y="2004970"/>
            <a:ext cx="2055413" cy="1008112"/>
          </a:xfrm>
          <a:prstGeom prst="roundRect">
            <a:avLst>
              <a:gd name="adj" fmla="val 27884"/>
            </a:avLst>
          </a:prstGeom>
          <a:gradFill rotWithShape="1">
            <a:gsLst>
              <a:gs pos="0">
                <a:srgbClr val="043F52">
                  <a:shade val="51000"/>
                  <a:satMod val="130000"/>
                </a:srgbClr>
              </a:gs>
              <a:gs pos="80000">
                <a:srgbClr val="043F52">
                  <a:shade val="93000"/>
                  <a:satMod val="130000"/>
                </a:srgbClr>
              </a:gs>
              <a:gs pos="100000">
                <a:srgbClr val="043F52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043F52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_tradnl" sz="20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ADECUACIÓN NORMATIVA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_tradnl" sz="1100" b="0" kern="0" dirty="0">
                <a:solidFill>
                  <a:srgbClr val="FFFFFF"/>
                </a:solidFill>
                <a:latin typeface="Telefonica Text"/>
                <a:ea typeface="MS PGothic"/>
                <a:cs typeface="Arial" pitchFamily="34" charset="0"/>
              </a:rPr>
              <a:t>Cumplimiento Regulatorio</a:t>
            </a:r>
            <a:endParaRPr lang="es-ES" sz="1100" b="0" kern="0" dirty="0">
              <a:solidFill>
                <a:srgbClr val="FFFFFF"/>
              </a:solidFill>
              <a:latin typeface="Telefonica Text"/>
              <a:ea typeface="MS PGothic"/>
              <a:cs typeface="Arial" pitchFamily="34" charset="0"/>
            </a:endParaRPr>
          </a:p>
        </p:txBody>
      </p:sp>
      <p:sp>
        <p:nvSpPr>
          <p:cNvPr id="21" name="20 Flecha abajo"/>
          <p:cNvSpPr/>
          <p:nvPr/>
        </p:nvSpPr>
        <p:spPr bwMode="auto">
          <a:xfrm rot="7778846">
            <a:off x="2842387" y="2553227"/>
            <a:ext cx="421010" cy="978926"/>
          </a:xfrm>
          <a:prstGeom prst="downArrow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2" name="21 Rectángulo redondeado"/>
          <p:cNvSpPr/>
          <p:nvPr/>
        </p:nvSpPr>
        <p:spPr bwMode="auto">
          <a:xfrm>
            <a:off x="3449843" y="1500914"/>
            <a:ext cx="2208842" cy="1008112"/>
          </a:xfrm>
          <a:prstGeom prst="roundRect">
            <a:avLst>
              <a:gd name="adj" fmla="val 27884"/>
            </a:avLst>
          </a:prstGeom>
          <a:gradFill rotWithShape="1">
            <a:gsLst>
              <a:gs pos="0">
                <a:srgbClr val="043F52">
                  <a:shade val="51000"/>
                  <a:satMod val="130000"/>
                </a:srgbClr>
              </a:gs>
              <a:gs pos="80000">
                <a:srgbClr val="043F52">
                  <a:shade val="93000"/>
                  <a:satMod val="130000"/>
                </a:srgbClr>
              </a:gs>
              <a:gs pos="100000">
                <a:srgbClr val="043F52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043F52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_tradnl" sz="20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REPORTE ALTA DIRECCIÓ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_tradnl" sz="1100" b="0" kern="0" dirty="0">
                <a:solidFill>
                  <a:srgbClr val="FFFFFF"/>
                </a:solidFill>
                <a:latin typeface="Telefonica Text"/>
                <a:ea typeface="MS PGothic"/>
                <a:cs typeface="Arial" pitchFamily="34" charset="0"/>
              </a:rPr>
              <a:t>Estado, nivel de madurez, incidentes, impactos, etc.</a:t>
            </a:r>
            <a:endParaRPr lang="es-ES" sz="1100" b="0" kern="0" dirty="0">
              <a:solidFill>
                <a:srgbClr val="FFFFFF"/>
              </a:solidFill>
              <a:latin typeface="Telefonica Text"/>
              <a:ea typeface="MS PGothic"/>
              <a:cs typeface="Arial" pitchFamily="34" charset="0"/>
            </a:endParaRPr>
          </a:p>
        </p:txBody>
      </p:sp>
      <p:sp>
        <p:nvSpPr>
          <p:cNvPr id="23" name="22 Flecha abajo"/>
          <p:cNvSpPr/>
          <p:nvPr/>
        </p:nvSpPr>
        <p:spPr bwMode="auto">
          <a:xfrm rot="10800000">
            <a:off x="4359413" y="2568243"/>
            <a:ext cx="420937" cy="681275"/>
          </a:xfrm>
          <a:prstGeom prst="downArrow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4" name="23 Rectángulo redondeado"/>
          <p:cNvSpPr/>
          <p:nvPr/>
        </p:nvSpPr>
        <p:spPr bwMode="auto">
          <a:xfrm>
            <a:off x="6548335" y="2004970"/>
            <a:ext cx="2055413" cy="1008112"/>
          </a:xfrm>
          <a:prstGeom prst="roundRect">
            <a:avLst>
              <a:gd name="adj" fmla="val 27884"/>
            </a:avLst>
          </a:prstGeom>
          <a:gradFill rotWithShape="1">
            <a:gsLst>
              <a:gs pos="0">
                <a:srgbClr val="043F52">
                  <a:shade val="51000"/>
                  <a:satMod val="130000"/>
                </a:srgbClr>
              </a:gs>
              <a:gs pos="80000">
                <a:srgbClr val="043F52">
                  <a:shade val="93000"/>
                  <a:satMod val="130000"/>
                </a:srgbClr>
              </a:gs>
              <a:gs pos="100000">
                <a:srgbClr val="043F52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043F52">
                <a:shade val="95000"/>
                <a:satMod val="105000"/>
              </a:srgbClr>
            </a:solidFill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extLst/>
        </p:spPr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_tradnl" sz="20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POLÍTICAS Y ESTÁNDARE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s-ES_tradnl" sz="1100" b="0" kern="0" dirty="0">
                <a:solidFill>
                  <a:srgbClr val="FFFFFF"/>
                </a:solidFill>
                <a:latin typeface="Telefonica Text"/>
                <a:ea typeface="MS PGothic"/>
                <a:cs typeface="Arial" pitchFamily="34" charset="0"/>
              </a:rPr>
              <a:t>para asegurar el establecimiento de controles</a:t>
            </a:r>
            <a:endParaRPr lang="es-ES" sz="1100" b="0" kern="0" dirty="0">
              <a:solidFill>
                <a:srgbClr val="FFFFFF"/>
              </a:solidFill>
              <a:latin typeface="Telefonica Text"/>
              <a:ea typeface="MS PGothic"/>
              <a:cs typeface="Arial" pitchFamily="34" charset="0"/>
            </a:endParaRPr>
          </a:p>
        </p:txBody>
      </p:sp>
      <p:sp>
        <p:nvSpPr>
          <p:cNvPr id="25" name="24 Flecha abajo"/>
          <p:cNvSpPr/>
          <p:nvPr/>
        </p:nvSpPr>
        <p:spPr bwMode="auto">
          <a:xfrm rot="13848431">
            <a:off x="5865021" y="2551287"/>
            <a:ext cx="421010" cy="978926"/>
          </a:xfrm>
          <a:prstGeom prst="downArrow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6" name="25 Rectángulo"/>
          <p:cNvSpPr/>
          <p:nvPr/>
        </p:nvSpPr>
        <p:spPr>
          <a:xfrm>
            <a:off x="1244643" y="5085184"/>
            <a:ext cx="958917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tección, </a:t>
            </a:r>
          </a:p>
          <a:p>
            <a:r>
              <a:rPr lang="es-ES" sz="11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Ralentización</a:t>
            </a:r>
          </a:p>
          <a:p>
            <a:r>
              <a:rPr lang="es-ES" sz="11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Respuesta</a:t>
            </a:r>
          </a:p>
        </p:txBody>
      </p:sp>
      <p:sp>
        <p:nvSpPr>
          <p:cNvPr id="27" name="26 Rectángulo"/>
          <p:cNvSpPr/>
          <p:nvPr/>
        </p:nvSpPr>
        <p:spPr>
          <a:xfrm>
            <a:off x="6864160" y="4960039"/>
            <a:ext cx="1740288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1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Planificación</a:t>
            </a:r>
          </a:p>
          <a:p>
            <a:r>
              <a:rPr lang="es-ES" sz="11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Preparación</a:t>
            </a:r>
          </a:p>
          <a:p>
            <a:r>
              <a:rPr lang="es-ES" sz="11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Detección</a:t>
            </a:r>
          </a:p>
          <a:p>
            <a:r>
              <a:rPr lang="es-ES" sz="11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Reporting</a:t>
            </a:r>
          </a:p>
          <a:p>
            <a:r>
              <a:rPr lang="es-ES" sz="11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nálisis y Decisión</a:t>
            </a:r>
          </a:p>
          <a:p>
            <a:r>
              <a:rPr lang="es-ES" sz="11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Respuesta </a:t>
            </a:r>
          </a:p>
          <a:p>
            <a:r>
              <a:rPr lang="es-ES" sz="110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Lecciones Aprendidas</a:t>
            </a:r>
          </a:p>
        </p:txBody>
      </p:sp>
      <p:sp>
        <p:nvSpPr>
          <p:cNvPr id="28" name="27 Rectángulo redondeado"/>
          <p:cNvSpPr/>
          <p:nvPr/>
        </p:nvSpPr>
        <p:spPr bwMode="auto">
          <a:xfrm>
            <a:off x="3528593" y="3373122"/>
            <a:ext cx="2051345" cy="820646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_tradnl" sz="2000" i="0" u="none" strike="noStrike" cap="none" normalizeH="0" baseline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FUNCIÓN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_tradnl" sz="2000" i="0" u="none" strike="noStrike" cap="none" normalizeH="0" baseline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SEGURIDAD</a:t>
            </a:r>
            <a:endParaRPr kumimoji="0" lang="es-ES" sz="2000" i="0" u="none" strike="noStrike" cap="none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29" name="28 Rectángulo redondeado"/>
          <p:cNvSpPr/>
          <p:nvPr/>
        </p:nvSpPr>
        <p:spPr bwMode="auto">
          <a:xfrm>
            <a:off x="3348077" y="4332177"/>
            <a:ext cx="2504979" cy="536983"/>
          </a:xfrm>
          <a:prstGeom prst="roundRect">
            <a:avLst>
              <a:gd name="adj" fmla="val 27884"/>
            </a:avLst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s-ES" sz="1100" dirty="0"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ea typeface="MS PGothic" charset="0"/>
                <a:cs typeface="MS PGothic" charset="0"/>
              </a:rPr>
              <a:t>MONITORIZACIÓN CONTINUA</a:t>
            </a:r>
          </a:p>
          <a:p>
            <a:pPr algn="ctr" eaLnBrk="0" hangingPunct="0"/>
            <a:r>
              <a:rPr lang="es-ES" sz="1100" dirty="0"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ea typeface="MS PGothic" charset="0"/>
                <a:cs typeface="MS PGothic" charset="0"/>
              </a:rPr>
              <a:t>TIEMPO REAL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0071" y="5517233"/>
            <a:ext cx="1489501" cy="556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534" y="5517232"/>
            <a:ext cx="1178653" cy="485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445" y="1274160"/>
            <a:ext cx="8738043" cy="549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738256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2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3"/>
          <p:cNvSpPr txBox="1">
            <a:spLocks/>
          </p:cNvSpPr>
          <p:nvPr/>
        </p:nvSpPr>
        <p:spPr>
          <a:xfrm flipH="1">
            <a:off x="196662" y="151603"/>
            <a:ext cx="8417169" cy="83661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5pPr>
            <a:lvl6pPr marL="457166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6pPr>
            <a:lvl7pPr marL="914333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7pPr>
            <a:lvl8pPr marL="1371499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8pPr>
            <a:lvl9pPr marL="1828666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9pPr>
          </a:lstStyle>
          <a:p>
            <a:r>
              <a:rPr lang="en-US" sz="2600" b="1" kern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Sandas GRC </a:t>
            </a:r>
            <a:r>
              <a:rPr lang="en-US" sz="2600" kern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– Gobierno, Riesgo y Cumplimiento</a:t>
            </a:r>
          </a:p>
        </p:txBody>
      </p:sp>
      <p:sp>
        <p:nvSpPr>
          <p:cNvPr id="36" name="34 CuadroTexto"/>
          <p:cNvSpPr txBox="1"/>
          <p:nvPr/>
        </p:nvSpPr>
        <p:spPr>
          <a:xfrm>
            <a:off x="226445" y="692696"/>
            <a:ext cx="5425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C6DA">
                    <a:lumMod val="60000"/>
                    <a:lumOff val="40000"/>
                  </a:srgbClr>
                </a:solidFill>
                <a:latin typeface="Segoe Print"/>
                <a:ea typeface="Calibri"/>
                <a:sym typeface="Trebuchet MS" pitchFamily="34" charset="0"/>
              </a:rPr>
              <a:t>Gobierno de la Seguridad de la Información</a:t>
            </a:r>
          </a:p>
        </p:txBody>
      </p:sp>
      <p:sp>
        <p:nvSpPr>
          <p:cNvPr id="7" name="6 Rectángulo"/>
          <p:cNvSpPr/>
          <p:nvPr/>
        </p:nvSpPr>
        <p:spPr>
          <a:xfrm>
            <a:off x="516948" y="2485345"/>
            <a:ext cx="8303524" cy="1015663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s-ES" sz="2000" dirty="0"/>
              <a:t>Los </a:t>
            </a:r>
            <a:r>
              <a:rPr lang="es-ES" sz="2000" i="1" dirty="0"/>
              <a:t>Procesos de Negocio</a:t>
            </a:r>
            <a:r>
              <a:rPr lang="es-ES" sz="2000" dirty="0"/>
              <a:t>, ayudando en su optimización y mejora continua a través de la medición y la visibilidad en los mismos, así como de sus activos dependientes. </a:t>
            </a:r>
          </a:p>
        </p:txBody>
      </p:sp>
      <p:sp>
        <p:nvSpPr>
          <p:cNvPr id="40" name="39 Rectángulo"/>
          <p:cNvSpPr/>
          <p:nvPr/>
        </p:nvSpPr>
        <p:spPr>
          <a:xfrm>
            <a:off x="516948" y="4088681"/>
            <a:ext cx="8303524" cy="707886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s-ES" sz="2000" dirty="0"/>
              <a:t>Los </a:t>
            </a:r>
            <a:r>
              <a:rPr lang="es-ES" sz="2000" i="1" dirty="0"/>
              <a:t>Riesgos Corporativos</a:t>
            </a:r>
            <a:r>
              <a:rPr lang="es-ES" sz="2000" dirty="0"/>
              <a:t>, a fin de asegurar la continuidad de sus actividades de negocio y maximizar su retorno de Inversión.</a:t>
            </a:r>
          </a:p>
        </p:txBody>
      </p:sp>
      <p:sp>
        <p:nvSpPr>
          <p:cNvPr id="41" name="40 Rectángulo"/>
          <p:cNvSpPr/>
          <p:nvPr/>
        </p:nvSpPr>
        <p:spPr>
          <a:xfrm>
            <a:off x="516948" y="5385410"/>
            <a:ext cx="8303524" cy="707886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s-ES" sz="2000" dirty="0"/>
              <a:t>Las </a:t>
            </a:r>
            <a:r>
              <a:rPr lang="es-ES" sz="2000" i="1" dirty="0"/>
              <a:t>Obligaciones Legales</a:t>
            </a:r>
            <a:r>
              <a:rPr lang="es-ES" sz="2000" dirty="0"/>
              <a:t>, </a:t>
            </a:r>
            <a:r>
              <a:rPr lang="es-ES" sz="2000" i="1" dirty="0"/>
              <a:t>Regulatorias</a:t>
            </a:r>
            <a:r>
              <a:rPr lang="es-ES" sz="2000" dirty="0"/>
              <a:t> y </a:t>
            </a:r>
            <a:r>
              <a:rPr lang="es-ES" sz="2000" i="1" dirty="0"/>
              <a:t>Contractuales</a:t>
            </a:r>
            <a:r>
              <a:rPr lang="es-ES" sz="2000" dirty="0"/>
              <a:t> impuestas por terceras partes</a:t>
            </a:r>
          </a:p>
        </p:txBody>
      </p:sp>
      <p:sp>
        <p:nvSpPr>
          <p:cNvPr id="42" name="41 Rectángulo"/>
          <p:cNvSpPr/>
          <p:nvPr/>
        </p:nvSpPr>
        <p:spPr>
          <a:xfrm>
            <a:off x="516948" y="1412776"/>
            <a:ext cx="83035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000" dirty="0"/>
              <a:t>Buen Gobierno, Gestión y Control de:</a:t>
            </a:r>
          </a:p>
        </p:txBody>
      </p:sp>
      <p:sp>
        <p:nvSpPr>
          <p:cNvPr id="9" name="8 Elipse"/>
          <p:cNvSpPr/>
          <p:nvPr/>
        </p:nvSpPr>
        <p:spPr bwMode="auto">
          <a:xfrm>
            <a:off x="179512" y="2060848"/>
            <a:ext cx="558914" cy="568513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_tradnl" sz="2800" b="0" i="0" u="none" strike="noStrike" cap="none" normalizeH="0" baseline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latin typeface="Arial" pitchFamily="34" charset="0"/>
                <a:ea typeface="ヒラギノ角ゴ ProN W3" charset="-128"/>
                <a:sym typeface="Gill Sans" charset="0"/>
              </a:rPr>
              <a:t>1</a:t>
            </a:r>
            <a:endParaRPr kumimoji="0" lang="es-ES" sz="2800" b="0" i="0" u="none" strike="noStrike" cap="none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sp>
        <p:nvSpPr>
          <p:cNvPr id="44" name="43 Elipse"/>
          <p:cNvSpPr/>
          <p:nvPr/>
        </p:nvSpPr>
        <p:spPr bwMode="auto">
          <a:xfrm>
            <a:off x="179512" y="3645024"/>
            <a:ext cx="558914" cy="568513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_tradnl" sz="2800" b="0" i="0" u="none" strike="noStrike" cap="none" normalizeH="0" baseline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latin typeface="Arial" pitchFamily="34" charset="0"/>
                <a:ea typeface="ヒラギノ角ゴ ProN W3" charset="-128"/>
                <a:sym typeface="Gill Sans" charset="0"/>
              </a:rPr>
              <a:t>2</a:t>
            </a:r>
            <a:endParaRPr kumimoji="0" lang="es-ES" sz="2800" b="0" i="0" u="none" strike="noStrike" cap="none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sp>
        <p:nvSpPr>
          <p:cNvPr id="45" name="44 Elipse"/>
          <p:cNvSpPr/>
          <p:nvPr/>
        </p:nvSpPr>
        <p:spPr bwMode="auto">
          <a:xfrm>
            <a:off x="179512" y="4941168"/>
            <a:ext cx="558914" cy="568513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_tradnl" sz="2800" dirty="0">
                <a:solidFill>
                  <a:schemeClr val="tx1">
                    <a:lumMod val="90000"/>
                    <a:lumOff val="10000"/>
                  </a:schemeClr>
                </a:solidFill>
                <a:latin typeface="Arial" pitchFamily="34" charset="0"/>
                <a:ea typeface="ヒラギノ角ゴ ProN W3" charset="-128"/>
                <a:sym typeface="Gill Sans" charset="0"/>
              </a:rPr>
              <a:t>3</a:t>
            </a:r>
            <a:endParaRPr kumimoji="0" lang="es-ES" sz="2800" b="0" i="0" u="none" strike="noStrike" cap="none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484784"/>
            <a:ext cx="8820472" cy="525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493889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1.85185E-6 L 0.00105 -0.1463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" y="-7315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-2.59259E-6 L -0.00278 -0.14629 " pathEditMode="relative" rAng="0" ptsTypes="AA">
                                      <p:cBhvr>
                                        <p:cTn id="35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9" y="-73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22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22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22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40" grpId="0" animBg="1"/>
      <p:bldP spid="41" grpId="0" animBg="1"/>
      <p:bldP spid="42" grpId="0"/>
      <p:bldP spid="9" grpId="0" animBg="1"/>
      <p:bldP spid="44" grpId="0" animBg="1"/>
      <p:bldP spid="4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3"/>
          <p:cNvSpPr txBox="1">
            <a:spLocks/>
          </p:cNvSpPr>
          <p:nvPr/>
        </p:nvSpPr>
        <p:spPr>
          <a:xfrm flipH="1">
            <a:off x="196662" y="151603"/>
            <a:ext cx="8417169" cy="83661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5pPr>
            <a:lvl6pPr marL="457166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6pPr>
            <a:lvl7pPr marL="914333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7pPr>
            <a:lvl8pPr marL="1371499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8pPr>
            <a:lvl9pPr marL="1828666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9pPr>
          </a:lstStyle>
          <a:p>
            <a:r>
              <a:rPr lang="en-US" sz="2600" b="1" kern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Sandas GRC </a:t>
            </a:r>
            <a:r>
              <a:rPr lang="en-US" sz="2600" kern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– Gobierno, Riesgo y Cumplimiento</a:t>
            </a:r>
          </a:p>
        </p:txBody>
      </p:sp>
      <p:sp>
        <p:nvSpPr>
          <p:cNvPr id="36" name="34 CuadroTexto"/>
          <p:cNvSpPr txBox="1"/>
          <p:nvPr/>
        </p:nvSpPr>
        <p:spPr>
          <a:xfrm>
            <a:off x="226445" y="692696"/>
            <a:ext cx="5425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C6DA">
                    <a:lumMod val="60000"/>
                    <a:lumOff val="40000"/>
                  </a:srgbClr>
                </a:solidFill>
                <a:latin typeface="Segoe Print"/>
                <a:ea typeface="Calibri"/>
                <a:sym typeface="Trebuchet MS" pitchFamily="34" charset="0"/>
              </a:rPr>
              <a:t>Gobierno de la Seguridad de la Información</a:t>
            </a: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445" y="1412776"/>
            <a:ext cx="8640960" cy="496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996222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3"/>
          <p:cNvSpPr txBox="1">
            <a:spLocks/>
          </p:cNvSpPr>
          <p:nvPr/>
        </p:nvSpPr>
        <p:spPr>
          <a:xfrm flipH="1">
            <a:off x="196662" y="151603"/>
            <a:ext cx="8417169" cy="83661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5pPr>
            <a:lvl6pPr marL="457166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6pPr>
            <a:lvl7pPr marL="914333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7pPr>
            <a:lvl8pPr marL="1371499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8pPr>
            <a:lvl9pPr marL="1828666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9pPr>
          </a:lstStyle>
          <a:p>
            <a:r>
              <a:rPr lang="en-US" sz="2600" b="1" kern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Sandas GRC </a:t>
            </a:r>
            <a:r>
              <a:rPr lang="en-US" sz="2600" kern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– Gobierno, Riesgo y Cumplimiento</a:t>
            </a:r>
          </a:p>
        </p:txBody>
      </p:sp>
      <p:sp>
        <p:nvSpPr>
          <p:cNvPr id="36" name="34 CuadroTexto"/>
          <p:cNvSpPr txBox="1"/>
          <p:nvPr/>
        </p:nvSpPr>
        <p:spPr>
          <a:xfrm>
            <a:off x="226445" y="692696"/>
            <a:ext cx="5425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C6DA">
                    <a:lumMod val="60000"/>
                    <a:lumOff val="40000"/>
                  </a:srgbClr>
                </a:solidFill>
                <a:latin typeface="Segoe Print"/>
                <a:ea typeface="Calibri"/>
                <a:sym typeface="Trebuchet MS" pitchFamily="34" charset="0"/>
              </a:rPr>
              <a:t>Gobierno de la Seguridad de la Información</a:t>
            </a:r>
          </a:p>
        </p:txBody>
      </p:sp>
      <p:sp>
        <p:nvSpPr>
          <p:cNvPr id="7" name="6 Rectángulo"/>
          <p:cNvSpPr/>
          <p:nvPr/>
        </p:nvSpPr>
        <p:spPr>
          <a:xfrm>
            <a:off x="516948" y="2485345"/>
            <a:ext cx="8303524" cy="1015663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s-ES" sz="2000" dirty="0"/>
              <a:t>Los </a:t>
            </a:r>
            <a:r>
              <a:rPr lang="es-ES" sz="2000" i="1" dirty="0"/>
              <a:t>Procesos de Negocio</a:t>
            </a:r>
            <a:r>
              <a:rPr lang="es-ES" sz="2000" dirty="0"/>
              <a:t>, ayudando en su optimización y mejora continua a través de la medición y la visibilidad en los mismos, así como de sus activos dependientes. </a:t>
            </a:r>
          </a:p>
        </p:txBody>
      </p:sp>
      <p:sp>
        <p:nvSpPr>
          <p:cNvPr id="40" name="39 Rectángulo"/>
          <p:cNvSpPr/>
          <p:nvPr/>
        </p:nvSpPr>
        <p:spPr>
          <a:xfrm>
            <a:off x="516948" y="4088681"/>
            <a:ext cx="8303524" cy="707886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s-ES" sz="2000" dirty="0"/>
              <a:t>Los </a:t>
            </a:r>
            <a:r>
              <a:rPr lang="es-ES" sz="2000" i="1" dirty="0"/>
              <a:t>Riesgos Corporativos</a:t>
            </a:r>
            <a:r>
              <a:rPr lang="es-ES" sz="2000" dirty="0"/>
              <a:t>, a fin de asegurar la continuidad de sus actividades de negocio y maximizar su retorno de Inversión.</a:t>
            </a:r>
          </a:p>
        </p:txBody>
      </p:sp>
      <p:sp>
        <p:nvSpPr>
          <p:cNvPr id="41" name="40 Rectángulo"/>
          <p:cNvSpPr/>
          <p:nvPr/>
        </p:nvSpPr>
        <p:spPr>
          <a:xfrm>
            <a:off x="516948" y="5385410"/>
            <a:ext cx="8303524" cy="707886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s-ES" sz="2000" dirty="0"/>
              <a:t>Las </a:t>
            </a:r>
            <a:r>
              <a:rPr lang="es-ES" sz="2000" i="1" dirty="0"/>
              <a:t>Obligaciones Legales</a:t>
            </a:r>
            <a:r>
              <a:rPr lang="es-ES" sz="2000" dirty="0"/>
              <a:t>, </a:t>
            </a:r>
            <a:r>
              <a:rPr lang="es-ES" sz="2000" i="1" dirty="0"/>
              <a:t>Regulatorias</a:t>
            </a:r>
            <a:r>
              <a:rPr lang="es-ES" sz="2000" dirty="0"/>
              <a:t> y </a:t>
            </a:r>
            <a:r>
              <a:rPr lang="es-ES" sz="2000" i="1" dirty="0"/>
              <a:t>Contractuales</a:t>
            </a:r>
            <a:r>
              <a:rPr lang="es-ES" sz="2000" dirty="0"/>
              <a:t> impuestas por terceras partes</a:t>
            </a:r>
          </a:p>
        </p:txBody>
      </p:sp>
      <p:sp>
        <p:nvSpPr>
          <p:cNvPr id="42" name="41 Rectángulo"/>
          <p:cNvSpPr/>
          <p:nvPr/>
        </p:nvSpPr>
        <p:spPr>
          <a:xfrm>
            <a:off x="516948" y="1412776"/>
            <a:ext cx="83035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000" dirty="0"/>
              <a:t>Buen Gobierno, Gestión y Control de:</a:t>
            </a:r>
          </a:p>
        </p:txBody>
      </p:sp>
      <p:sp>
        <p:nvSpPr>
          <p:cNvPr id="9" name="8 Elipse"/>
          <p:cNvSpPr/>
          <p:nvPr/>
        </p:nvSpPr>
        <p:spPr bwMode="auto">
          <a:xfrm>
            <a:off x="179512" y="2060848"/>
            <a:ext cx="558914" cy="568513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_tradnl" sz="2800" b="0" i="0" u="none" strike="noStrike" cap="none" normalizeH="0" baseline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latin typeface="Arial" pitchFamily="34" charset="0"/>
                <a:ea typeface="ヒラギノ角ゴ ProN W3" charset="-128"/>
                <a:sym typeface="Gill Sans" charset="0"/>
              </a:rPr>
              <a:t>1</a:t>
            </a:r>
            <a:endParaRPr kumimoji="0" lang="es-ES" sz="2800" b="0" i="0" u="none" strike="noStrike" cap="none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sp>
        <p:nvSpPr>
          <p:cNvPr id="44" name="43 Elipse"/>
          <p:cNvSpPr/>
          <p:nvPr/>
        </p:nvSpPr>
        <p:spPr bwMode="auto">
          <a:xfrm>
            <a:off x="179512" y="3645024"/>
            <a:ext cx="558914" cy="568513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_tradnl" sz="2800" b="0" i="0" u="none" strike="noStrike" cap="none" normalizeH="0" baseline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latin typeface="Arial" pitchFamily="34" charset="0"/>
                <a:ea typeface="ヒラギノ角ゴ ProN W3" charset="-128"/>
                <a:sym typeface="Gill Sans" charset="0"/>
              </a:rPr>
              <a:t>2</a:t>
            </a:r>
            <a:endParaRPr kumimoji="0" lang="es-ES" sz="2800" b="0" i="0" u="none" strike="noStrike" cap="none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sp>
        <p:nvSpPr>
          <p:cNvPr id="45" name="44 Elipse"/>
          <p:cNvSpPr/>
          <p:nvPr/>
        </p:nvSpPr>
        <p:spPr bwMode="auto">
          <a:xfrm>
            <a:off x="179512" y="4941168"/>
            <a:ext cx="558914" cy="568513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_tradnl" sz="2800" dirty="0">
                <a:solidFill>
                  <a:schemeClr val="tx1">
                    <a:lumMod val="90000"/>
                    <a:lumOff val="10000"/>
                  </a:schemeClr>
                </a:solidFill>
                <a:latin typeface="Arial" pitchFamily="34" charset="0"/>
                <a:ea typeface="ヒラギノ角ゴ ProN W3" charset="-128"/>
                <a:sym typeface="Gill Sans" charset="0"/>
              </a:rPr>
              <a:t>3</a:t>
            </a:r>
            <a:endParaRPr kumimoji="0" lang="es-ES" sz="2800" b="0" i="0" u="none" strike="noStrike" cap="none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2276872"/>
            <a:ext cx="9145015" cy="4680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2276872"/>
            <a:ext cx="9039991" cy="4680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68" y="2286992"/>
            <a:ext cx="9006331" cy="467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147579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3.33333E-6 L 0.00105 -0.3669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" y="-18356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4.81481E-6 L -0.00278 -0.36829 " pathEditMode="relative" rAng="0" ptsTypes="AA">
                                      <p:cBhvr>
                                        <p:cTn id="35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9" y="-1842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43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43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43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2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2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12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1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1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40" grpId="0" animBg="1"/>
      <p:bldP spid="41" grpId="0" animBg="1"/>
      <p:bldP spid="42" grpId="0"/>
      <p:bldP spid="9" grpId="0" animBg="1"/>
      <p:bldP spid="44" grpId="0" animBg="1"/>
      <p:bldP spid="4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3"/>
          <p:cNvSpPr txBox="1">
            <a:spLocks/>
          </p:cNvSpPr>
          <p:nvPr/>
        </p:nvSpPr>
        <p:spPr>
          <a:xfrm flipH="1">
            <a:off x="196662" y="151603"/>
            <a:ext cx="8417169" cy="83661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5pPr>
            <a:lvl6pPr marL="457166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6pPr>
            <a:lvl7pPr marL="914333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7pPr>
            <a:lvl8pPr marL="1371499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8pPr>
            <a:lvl9pPr marL="1828666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9pPr>
          </a:lstStyle>
          <a:p>
            <a:r>
              <a:rPr lang="en-US" sz="2600" b="1" kern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Sandas GRC </a:t>
            </a:r>
            <a:r>
              <a:rPr lang="en-US" sz="2600" kern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– Gobierno, Riesgo y Cumplimiento</a:t>
            </a:r>
          </a:p>
        </p:txBody>
      </p:sp>
      <p:sp>
        <p:nvSpPr>
          <p:cNvPr id="36" name="34 CuadroTexto"/>
          <p:cNvSpPr txBox="1"/>
          <p:nvPr/>
        </p:nvSpPr>
        <p:spPr>
          <a:xfrm>
            <a:off x="226445" y="692696"/>
            <a:ext cx="5425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C6DA">
                    <a:lumMod val="60000"/>
                    <a:lumOff val="40000"/>
                  </a:srgbClr>
                </a:solidFill>
                <a:latin typeface="Segoe Print"/>
                <a:ea typeface="Calibri"/>
                <a:sym typeface="Trebuchet MS" pitchFamily="34" charset="0"/>
              </a:rPr>
              <a:t>Gobierno de la Seguridad de la Información</a:t>
            </a:r>
          </a:p>
        </p:txBody>
      </p:sp>
      <p:sp>
        <p:nvSpPr>
          <p:cNvPr id="7" name="6 Rectángulo"/>
          <p:cNvSpPr/>
          <p:nvPr/>
        </p:nvSpPr>
        <p:spPr>
          <a:xfrm>
            <a:off x="516948" y="2485345"/>
            <a:ext cx="8303524" cy="1015663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s-ES" sz="2000" dirty="0"/>
              <a:t>Los </a:t>
            </a:r>
            <a:r>
              <a:rPr lang="es-ES" sz="2000" i="1" dirty="0"/>
              <a:t>Procesos de Negocio</a:t>
            </a:r>
            <a:r>
              <a:rPr lang="es-ES" sz="2000" dirty="0"/>
              <a:t>, ayudando en su optimización y mejora continua a través de la medición y la visibilidad en los mismos, así como de sus activos dependientes. </a:t>
            </a:r>
          </a:p>
        </p:txBody>
      </p:sp>
      <p:sp>
        <p:nvSpPr>
          <p:cNvPr id="40" name="39 Rectángulo"/>
          <p:cNvSpPr/>
          <p:nvPr/>
        </p:nvSpPr>
        <p:spPr>
          <a:xfrm>
            <a:off x="516948" y="4088681"/>
            <a:ext cx="8303524" cy="707886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s-ES" sz="2000" dirty="0"/>
              <a:t>Los </a:t>
            </a:r>
            <a:r>
              <a:rPr lang="es-ES" sz="2000" i="1" dirty="0"/>
              <a:t>Riesgos Corporativos</a:t>
            </a:r>
            <a:r>
              <a:rPr lang="es-ES" sz="2000" dirty="0"/>
              <a:t>, a fin de asegurar la continuidad de sus actividades de negocio y maximizar su retorno de Inversión.</a:t>
            </a:r>
          </a:p>
        </p:txBody>
      </p:sp>
      <p:sp>
        <p:nvSpPr>
          <p:cNvPr id="41" name="40 Rectángulo"/>
          <p:cNvSpPr/>
          <p:nvPr/>
        </p:nvSpPr>
        <p:spPr>
          <a:xfrm>
            <a:off x="516948" y="5385410"/>
            <a:ext cx="8303524" cy="707886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es-ES" sz="2000" dirty="0"/>
              <a:t>Las </a:t>
            </a:r>
            <a:r>
              <a:rPr lang="es-ES" sz="2000" i="1" dirty="0"/>
              <a:t>Obligaciones Legales</a:t>
            </a:r>
            <a:r>
              <a:rPr lang="es-ES" sz="2000" dirty="0"/>
              <a:t>, </a:t>
            </a:r>
            <a:r>
              <a:rPr lang="es-ES" sz="2000" i="1" dirty="0"/>
              <a:t>Regulatorias</a:t>
            </a:r>
            <a:r>
              <a:rPr lang="es-ES" sz="2000" dirty="0"/>
              <a:t> y </a:t>
            </a:r>
            <a:r>
              <a:rPr lang="es-ES" sz="2000" i="1" dirty="0"/>
              <a:t>Contractuales</a:t>
            </a:r>
            <a:r>
              <a:rPr lang="es-ES" sz="2000" dirty="0"/>
              <a:t> impuestas por terceras partes</a:t>
            </a:r>
          </a:p>
        </p:txBody>
      </p:sp>
      <p:sp>
        <p:nvSpPr>
          <p:cNvPr id="42" name="41 Rectángulo"/>
          <p:cNvSpPr/>
          <p:nvPr/>
        </p:nvSpPr>
        <p:spPr>
          <a:xfrm>
            <a:off x="516948" y="1412776"/>
            <a:ext cx="83035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000" dirty="0"/>
              <a:t>Buen Gobierno, Gestión y Control de:</a:t>
            </a:r>
          </a:p>
        </p:txBody>
      </p:sp>
      <p:sp>
        <p:nvSpPr>
          <p:cNvPr id="9" name="8 Elipse"/>
          <p:cNvSpPr/>
          <p:nvPr/>
        </p:nvSpPr>
        <p:spPr bwMode="auto">
          <a:xfrm>
            <a:off x="179512" y="2060848"/>
            <a:ext cx="558914" cy="568513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_tradnl" sz="2800" b="0" i="0" u="none" strike="noStrike" cap="none" normalizeH="0" baseline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latin typeface="Arial" pitchFamily="34" charset="0"/>
                <a:ea typeface="ヒラギノ角ゴ ProN W3" charset="-128"/>
                <a:sym typeface="Gill Sans" charset="0"/>
              </a:rPr>
              <a:t>1</a:t>
            </a:r>
            <a:endParaRPr kumimoji="0" lang="es-ES" sz="2800" b="0" i="0" u="none" strike="noStrike" cap="none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sp>
        <p:nvSpPr>
          <p:cNvPr id="44" name="43 Elipse"/>
          <p:cNvSpPr/>
          <p:nvPr/>
        </p:nvSpPr>
        <p:spPr bwMode="auto">
          <a:xfrm>
            <a:off x="179512" y="3645024"/>
            <a:ext cx="558914" cy="568513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_tradnl" sz="2800" b="0" i="0" u="none" strike="noStrike" cap="none" normalizeH="0" baseline="0" dirty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latin typeface="Arial" pitchFamily="34" charset="0"/>
                <a:ea typeface="ヒラギノ角ゴ ProN W3" charset="-128"/>
                <a:sym typeface="Gill Sans" charset="0"/>
              </a:rPr>
              <a:t>2</a:t>
            </a:r>
            <a:endParaRPr kumimoji="0" lang="es-ES" sz="2800" b="0" i="0" u="none" strike="noStrike" cap="none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sp>
        <p:nvSpPr>
          <p:cNvPr id="45" name="44 Elipse"/>
          <p:cNvSpPr/>
          <p:nvPr/>
        </p:nvSpPr>
        <p:spPr bwMode="auto">
          <a:xfrm>
            <a:off x="179512" y="4941168"/>
            <a:ext cx="558914" cy="568513"/>
          </a:xfrm>
          <a:prstGeom prst="ellipse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ES_tradnl" sz="2800" dirty="0">
                <a:solidFill>
                  <a:schemeClr val="tx1">
                    <a:lumMod val="90000"/>
                    <a:lumOff val="10000"/>
                  </a:schemeClr>
                </a:solidFill>
                <a:latin typeface="Arial" pitchFamily="34" charset="0"/>
                <a:ea typeface="ヒラギノ角ゴ ProN W3" charset="-128"/>
                <a:sym typeface="Gill Sans" charset="0"/>
              </a:rPr>
              <a:t>3</a:t>
            </a:r>
            <a:endParaRPr kumimoji="0" lang="es-ES" sz="2800" b="0" i="0" u="none" strike="noStrike" cap="none" normalizeH="0" baseline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484784"/>
            <a:ext cx="8820472" cy="525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14 Elipse"/>
          <p:cNvSpPr/>
          <p:nvPr/>
        </p:nvSpPr>
        <p:spPr bwMode="auto">
          <a:xfrm>
            <a:off x="107504" y="4797152"/>
            <a:ext cx="936104" cy="2016224"/>
          </a:xfrm>
          <a:prstGeom prst="ellipse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2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ヒラギノ角ゴ ProN W3" charset="-128"/>
              <a:sym typeface="Gill Sans" charset="0"/>
            </a:endParaRP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93" y="1484784"/>
            <a:ext cx="8953608" cy="5328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3" y="1484784"/>
            <a:ext cx="8964488" cy="5373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229647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42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2.96296E-6 L 0.00105 -0.5456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" y="-2729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4.44444E-6 L -0.00278 -0.54676 " pathEditMode="relative" rAng="0" ptsTypes="AA">
                                      <p:cBhvr>
                                        <p:cTn id="35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9" y="-273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12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12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12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12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1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1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40" grpId="0" animBg="1"/>
      <p:bldP spid="41" grpId="0" animBg="1"/>
      <p:bldP spid="42" grpId="0"/>
      <p:bldP spid="9" grpId="0" animBg="1"/>
      <p:bldP spid="44" grpId="0" animBg="1"/>
      <p:bldP spid="45" grpId="0" animBg="1"/>
      <p:bldP spid="1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3"/>
          <p:cNvSpPr txBox="1">
            <a:spLocks/>
          </p:cNvSpPr>
          <p:nvPr/>
        </p:nvSpPr>
        <p:spPr>
          <a:xfrm flipH="1">
            <a:off x="196662" y="151603"/>
            <a:ext cx="8417169" cy="83661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5pPr>
            <a:lvl6pPr marL="457166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6pPr>
            <a:lvl7pPr marL="914333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7pPr>
            <a:lvl8pPr marL="1371499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8pPr>
            <a:lvl9pPr marL="1828666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BACF"/>
                </a:solidFill>
                <a:latin typeface="Arial" pitchFamily="34" charset="0"/>
              </a:defRPr>
            </a:lvl9pPr>
          </a:lstStyle>
          <a:p>
            <a:r>
              <a:rPr lang="en-US" sz="2600" b="1" kern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Sandas GRC </a:t>
            </a:r>
            <a:r>
              <a:rPr lang="en-US" sz="2600" kern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  <a:ea typeface="ヒラギノ角ゴ Pro W3" charset="-128"/>
                <a:cs typeface="Telefonica Headline Light" pitchFamily="2" charset="0"/>
                <a:sym typeface="Trebuchet MS" pitchFamily="34" charset="0"/>
              </a:rPr>
              <a:t>– Gobierno, Riesgo y Cumplimiento</a:t>
            </a:r>
          </a:p>
        </p:txBody>
      </p:sp>
      <p:sp>
        <p:nvSpPr>
          <p:cNvPr id="36" name="34 CuadroTexto"/>
          <p:cNvSpPr txBox="1"/>
          <p:nvPr/>
        </p:nvSpPr>
        <p:spPr>
          <a:xfrm>
            <a:off x="226445" y="692696"/>
            <a:ext cx="5425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00C6DA">
                    <a:lumMod val="60000"/>
                    <a:lumOff val="40000"/>
                  </a:srgbClr>
                </a:solidFill>
                <a:latin typeface="Segoe Print"/>
                <a:ea typeface="Calibri"/>
                <a:sym typeface="Trebuchet MS" pitchFamily="34" charset="0"/>
              </a:rPr>
              <a:t>Gobierno de la Seguridad de la Información</a:t>
            </a:r>
          </a:p>
        </p:txBody>
      </p:sp>
      <p:sp>
        <p:nvSpPr>
          <p:cNvPr id="5" name="4 Rectángulo redondeado"/>
          <p:cNvSpPr/>
          <p:nvPr/>
        </p:nvSpPr>
        <p:spPr bwMode="auto">
          <a:xfrm>
            <a:off x="324322" y="1916832"/>
            <a:ext cx="1872208" cy="1296144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>
              <a:spcAft>
                <a:spcPts val="1800"/>
              </a:spcAft>
              <a:buClr>
                <a:srgbClr val="002846"/>
              </a:buClr>
            </a:pPr>
            <a:r>
              <a:rPr lang="es-ES" altLang="es-ES" sz="1100" b="0" dirty="0">
                <a:solidFill>
                  <a:srgbClr val="043F52"/>
                </a:solidFill>
                <a:latin typeface="Arial" charset="0"/>
                <a:ea typeface="MS PGothic" pitchFamily="34" charset="-128"/>
              </a:rPr>
              <a:t>Proyectos encaminados a la continuidad del negocio (PCN / PCI). ISO 22301.</a:t>
            </a:r>
            <a:endParaRPr lang="es-ES_tradnl" altLang="es-ES" sz="1100" b="0" dirty="0">
              <a:solidFill>
                <a:srgbClr val="043F5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6" name="1 Rectángulo"/>
          <p:cNvSpPr>
            <a:spLocks noChangeArrowheads="1"/>
          </p:cNvSpPr>
          <p:nvPr/>
        </p:nvSpPr>
        <p:spPr bwMode="auto">
          <a:xfrm>
            <a:off x="507611" y="1340768"/>
            <a:ext cx="1524756" cy="615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5" rIns="91430" bIns="45715">
            <a:spAutoFit/>
          </a:bodyPr>
          <a:lstStyle/>
          <a:p>
            <a:pPr algn="ctr"/>
            <a:r>
              <a:rPr lang="es-ES" altLang="es-ES" sz="17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CONTINUIDAD</a:t>
            </a:r>
          </a:p>
          <a:p>
            <a:pPr algn="ctr"/>
            <a:r>
              <a:rPr lang="es-ES_tradnl" altLang="es-ES" sz="16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(ISO 22301)</a:t>
            </a:r>
            <a:endParaRPr lang="es-ES" altLang="es-ES" sz="1600" kern="0" dirty="0">
              <a:solidFill>
                <a:prstClr val="white"/>
              </a:solidFill>
              <a:latin typeface="Trebuchet MS" panose="020B0603020202020204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7" name="6 Rectángulo redondeado"/>
          <p:cNvSpPr/>
          <p:nvPr/>
        </p:nvSpPr>
        <p:spPr bwMode="auto">
          <a:xfrm>
            <a:off x="2484562" y="1916832"/>
            <a:ext cx="1872208" cy="1296144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hangingPunct="1">
              <a:spcAft>
                <a:spcPts val="1800"/>
              </a:spcAft>
              <a:buClr>
                <a:srgbClr val="002846"/>
              </a:buClr>
            </a:pPr>
            <a:r>
              <a:rPr lang="es-ES" altLang="es-ES" sz="1100" dirty="0">
                <a:solidFill>
                  <a:srgbClr val="FF0000"/>
                </a:solidFill>
                <a:latin typeface="Arial" charset="0"/>
                <a:ea typeface="MS PGothic" pitchFamily="34" charset="-128"/>
                <a:sym typeface="Gill Sans" charset="0"/>
              </a:rPr>
              <a:t>Actualizado al RGPD</a:t>
            </a:r>
            <a:endParaRPr lang="es-ES_tradnl" altLang="es-ES" sz="1100" dirty="0">
              <a:solidFill>
                <a:srgbClr val="FF0000"/>
              </a:solidFill>
              <a:latin typeface="Arial" charset="0"/>
              <a:ea typeface="MS PGothic" pitchFamily="34" charset="-128"/>
              <a:sym typeface="Gill Sans" charset="0"/>
            </a:endParaRPr>
          </a:p>
        </p:txBody>
      </p:sp>
      <p:sp>
        <p:nvSpPr>
          <p:cNvPr id="8" name="1 Rectángulo"/>
          <p:cNvSpPr>
            <a:spLocks noChangeArrowheads="1"/>
          </p:cNvSpPr>
          <p:nvPr/>
        </p:nvSpPr>
        <p:spPr bwMode="auto">
          <a:xfrm>
            <a:off x="2675665" y="1340768"/>
            <a:ext cx="1430849" cy="615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5" rIns="91430" bIns="45715">
            <a:spAutoFit/>
          </a:bodyPr>
          <a:lstStyle/>
          <a:p>
            <a:pPr algn="ctr"/>
            <a:r>
              <a:rPr lang="es-ES_tradnl" altLang="es-ES" sz="17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PROTECCIÓN </a:t>
            </a:r>
          </a:p>
          <a:p>
            <a:pPr algn="ctr"/>
            <a:r>
              <a:rPr lang="es-ES_tradnl" altLang="es-ES" sz="17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DE DATOS</a:t>
            </a:r>
            <a:endParaRPr lang="es-ES" altLang="es-ES" sz="1600" kern="0" dirty="0">
              <a:solidFill>
                <a:prstClr val="white"/>
              </a:solidFill>
              <a:latin typeface="Trebuchet MS" panose="020B0603020202020204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9" name="8 Rectángulo redondeado"/>
          <p:cNvSpPr/>
          <p:nvPr/>
        </p:nvSpPr>
        <p:spPr bwMode="auto">
          <a:xfrm>
            <a:off x="4716810" y="1916832"/>
            <a:ext cx="1872208" cy="1296144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hangingPunct="1">
              <a:spcAft>
                <a:spcPts val="1800"/>
              </a:spcAft>
              <a:buClr>
                <a:srgbClr val="002846"/>
              </a:buClr>
            </a:pPr>
            <a:r>
              <a:rPr lang="es-ES" altLang="es-ES" sz="1100" dirty="0">
                <a:solidFill>
                  <a:srgbClr val="043F52"/>
                </a:solidFill>
                <a:latin typeface="Arial" charset="0"/>
                <a:ea typeface="MS PGothic" pitchFamily="34" charset="-128"/>
              </a:rPr>
              <a:t>Implantación de un sistema de gestión de seguridad de la información o SGSI (ISO 27001).</a:t>
            </a:r>
            <a:endParaRPr lang="es-ES_tradnl" altLang="es-ES" sz="1100" dirty="0">
              <a:solidFill>
                <a:srgbClr val="043F5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0" name="1 Rectángulo"/>
          <p:cNvSpPr>
            <a:spLocks noChangeArrowheads="1"/>
          </p:cNvSpPr>
          <p:nvPr/>
        </p:nvSpPr>
        <p:spPr bwMode="auto">
          <a:xfrm>
            <a:off x="4428778" y="1340768"/>
            <a:ext cx="2481183" cy="615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0" tIns="45715" rIns="91430" bIns="45715">
            <a:spAutoFit/>
          </a:bodyPr>
          <a:lstStyle/>
          <a:p>
            <a:pPr algn="ctr"/>
            <a:r>
              <a:rPr lang="es-ES_tradnl" altLang="es-ES" sz="17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GESTIÓN SEGURIDAD</a:t>
            </a:r>
          </a:p>
          <a:p>
            <a:pPr algn="ctr"/>
            <a:r>
              <a:rPr lang="es-ES_tradnl" altLang="es-ES" sz="16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(ISO 27001)</a:t>
            </a:r>
            <a:endParaRPr lang="es-ES" altLang="es-ES" sz="1600" kern="0" dirty="0">
              <a:solidFill>
                <a:prstClr val="white"/>
              </a:solidFill>
              <a:latin typeface="Trebuchet MS" panose="020B0603020202020204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1" name="10 Rectángulo redondeado"/>
          <p:cNvSpPr/>
          <p:nvPr/>
        </p:nvSpPr>
        <p:spPr bwMode="auto">
          <a:xfrm>
            <a:off x="6949058" y="1916832"/>
            <a:ext cx="1872208" cy="1296144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hangingPunct="1">
              <a:spcAft>
                <a:spcPts val="1800"/>
              </a:spcAft>
              <a:buClr>
                <a:srgbClr val="002846"/>
              </a:buClr>
            </a:pPr>
            <a:r>
              <a:rPr lang="es-ES" altLang="es-ES" sz="1100" dirty="0">
                <a:solidFill>
                  <a:srgbClr val="043F52"/>
                </a:solidFill>
                <a:latin typeface="Arial" charset="0"/>
                <a:ea typeface="MS PGothic" pitchFamily="34" charset="-128"/>
              </a:rPr>
              <a:t>Adecuación de la normativa VISA y MASTERCARD, securización de información de las tarjetas de crédito.</a:t>
            </a:r>
            <a:endParaRPr lang="es-ES_tradnl" altLang="es-ES" sz="1100" dirty="0">
              <a:solidFill>
                <a:srgbClr val="043F5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2" name="1 Rectángulo"/>
          <p:cNvSpPr>
            <a:spLocks noChangeArrowheads="1"/>
          </p:cNvSpPr>
          <p:nvPr/>
        </p:nvSpPr>
        <p:spPr bwMode="auto">
          <a:xfrm>
            <a:off x="7432965" y="1463878"/>
            <a:ext cx="904395" cy="353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5" rIns="91430" bIns="45715">
            <a:spAutoFit/>
          </a:bodyPr>
          <a:lstStyle/>
          <a:p>
            <a:pPr algn="ctr"/>
            <a:r>
              <a:rPr lang="es-ES" altLang="es-ES" sz="17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PCI DSS</a:t>
            </a:r>
          </a:p>
        </p:txBody>
      </p:sp>
      <p:sp>
        <p:nvSpPr>
          <p:cNvPr id="13" name="12 Rectángulo redondeado"/>
          <p:cNvSpPr/>
          <p:nvPr/>
        </p:nvSpPr>
        <p:spPr bwMode="auto">
          <a:xfrm>
            <a:off x="323528" y="3986499"/>
            <a:ext cx="1872208" cy="1224136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hangingPunct="1">
              <a:spcAft>
                <a:spcPts val="1800"/>
              </a:spcAft>
              <a:buClr>
                <a:srgbClr val="002846"/>
              </a:buClr>
            </a:pPr>
            <a:r>
              <a:rPr lang="es-ES" altLang="es-ES" sz="1100" dirty="0">
                <a:solidFill>
                  <a:srgbClr val="043F52"/>
                </a:solidFill>
                <a:latin typeface="Arial" charset="0"/>
                <a:ea typeface="MS PGothic" pitchFamily="34" charset="-128"/>
              </a:rPr>
              <a:t>Adecuación del ENS y ENI. Orientado a AAPP que prestan servicios telemáticos o no al ciudadano.</a:t>
            </a:r>
            <a:endParaRPr lang="es-ES_tradnl" altLang="es-ES" sz="1100" dirty="0">
              <a:solidFill>
                <a:srgbClr val="043F5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4" name="1 Rectángulo"/>
          <p:cNvSpPr>
            <a:spLocks noChangeArrowheads="1"/>
          </p:cNvSpPr>
          <p:nvPr/>
        </p:nvSpPr>
        <p:spPr bwMode="auto">
          <a:xfrm>
            <a:off x="654348" y="3605546"/>
            <a:ext cx="1107975" cy="353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5" rIns="91430" bIns="45715">
            <a:spAutoFit/>
          </a:bodyPr>
          <a:lstStyle/>
          <a:p>
            <a:pPr algn="ctr"/>
            <a:r>
              <a:rPr lang="es-ES" altLang="es-ES" sz="17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ENS / ENI</a:t>
            </a:r>
          </a:p>
        </p:txBody>
      </p:sp>
      <p:sp>
        <p:nvSpPr>
          <p:cNvPr id="15" name="14 Rectángulo redondeado"/>
          <p:cNvSpPr/>
          <p:nvPr/>
        </p:nvSpPr>
        <p:spPr bwMode="auto">
          <a:xfrm>
            <a:off x="2483768" y="3986499"/>
            <a:ext cx="1872208" cy="1224136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hangingPunct="1">
              <a:spcAft>
                <a:spcPts val="1800"/>
              </a:spcAft>
              <a:buClr>
                <a:srgbClr val="002846"/>
              </a:buClr>
            </a:pPr>
            <a:r>
              <a:rPr lang="es-ES" altLang="es-ES" sz="1100" dirty="0">
                <a:solidFill>
                  <a:srgbClr val="043F52"/>
                </a:solidFill>
                <a:latin typeface="Arial" charset="0"/>
                <a:ea typeface="MS PGothic" pitchFamily="34" charset="-128"/>
              </a:rPr>
              <a:t>Adecuación a la LPIC. Plan de Seguridad del Operador (PSO) y Planes de Protección Específicos (PPE).</a:t>
            </a:r>
            <a:endParaRPr lang="es-ES_tradnl" altLang="es-ES" sz="1100" dirty="0">
              <a:solidFill>
                <a:srgbClr val="043F5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6" name="1 Rectángulo"/>
          <p:cNvSpPr>
            <a:spLocks noChangeArrowheads="1"/>
          </p:cNvSpPr>
          <p:nvPr/>
        </p:nvSpPr>
        <p:spPr bwMode="auto">
          <a:xfrm>
            <a:off x="3103930" y="3605546"/>
            <a:ext cx="607839" cy="353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5" rIns="91430" bIns="45715">
            <a:spAutoFit/>
          </a:bodyPr>
          <a:lstStyle/>
          <a:p>
            <a:r>
              <a:rPr lang="es-ES_tradnl" altLang="es-ES" sz="17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LPIC</a:t>
            </a:r>
            <a:endParaRPr lang="es-ES" altLang="es-ES" sz="1700" kern="0" dirty="0">
              <a:solidFill>
                <a:prstClr val="white"/>
              </a:solidFill>
              <a:latin typeface="Trebuchet MS" panose="020B0603020202020204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7" name="16 Rectángulo redondeado"/>
          <p:cNvSpPr/>
          <p:nvPr/>
        </p:nvSpPr>
        <p:spPr bwMode="auto">
          <a:xfrm>
            <a:off x="3333259" y="5589240"/>
            <a:ext cx="3759021" cy="828092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71450" indent="-171450" hangingPunct="1">
              <a:spcAft>
                <a:spcPts val="600"/>
              </a:spcAft>
              <a:buClr>
                <a:srgbClr val="002846"/>
              </a:buClr>
              <a:buFont typeface="Wingdings" panose="05000000000000000000" pitchFamily="2" charset="2"/>
              <a:buChar char="ü"/>
            </a:pPr>
            <a:r>
              <a:rPr lang="es-ES_tradnl" altLang="es-ES" sz="1100" dirty="0">
                <a:solidFill>
                  <a:srgbClr val="043F52"/>
                </a:solidFill>
                <a:latin typeface="Arial" charset="0"/>
                <a:ea typeface="MS PGothic" pitchFamily="34" charset="-128"/>
              </a:rPr>
              <a:t>Normativas sectoriales: </a:t>
            </a:r>
          </a:p>
          <a:p>
            <a:pPr hangingPunct="1">
              <a:spcAft>
                <a:spcPts val="600"/>
              </a:spcAft>
              <a:buClr>
                <a:srgbClr val="002846"/>
              </a:buClr>
            </a:pPr>
            <a:r>
              <a:rPr lang="es-ES_tradnl" altLang="es-ES" sz="1100" dirty="0">
                <a:solidFill>
                  <a:srgbClr val="043F52"/>
                </a:solidFill>
                <a:latin typeface="Arial" charset="0"/>
                <a:ea typeface="MS PGothic" pitchFamily="34" charset="-128"/>
              </a:rPr>
              <a:t>     Solvencia II, SOX, COBIT, HYPAA, etc.</a:t>
            </a:r>
          </a:p>
          <a:p>
            <a:pPr marL="171450" indent="-171450" hangingPunct="1">
              <a:spcAft>
                <a:spcPts val="600"/>
              </a:spcAft>
              <a:buClr>
                <a:srgbClr val="002846"/>
              </a:buClr>
              <a:buFont typeface="Wingdings" panose="05000000000000000000" pitchFamily="2" charset="2"/>
              <a:buChar char="ü"/>
            </a:pPr>
            <a:r>
              <a:rPr lang="es-ES_tradnl" altLang="es-ES" sz="1100" dirty="0">
                <a:solidFill>
                  <a:srgbClr val="043F52"/>
                </a:solidFill>
                <a:latin typeface="Arial" charset="0"/>
                <a:ea typeface="MS PGothic" pitchFamily="34" charset="-128"/>
              </a:rPr>
              <a:t>Normativa Interna de la Organización o de terceros</a:t>
            </a:r>
          </a:p>
        </p:txBody>
      </p:sp>
      <p:sp>
        <p:nvSpPr>
          <p:cNvPr id="18" name="1 Rectángulo"/>
          <p:cNvSpPr>
            <a:spLocks noChangeArrowheads="1"/>
          </p:cNvSpPr>
          <p:nvPr/>
        </p:nvSpPr>
        <p:spPr bwMode="auto">
          <a:xfrm>
            <a:off x="1835696" y="5826320"/>
            <a:ext cx="1043855" cy="353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5" rIns="91430" bIns="45715">
            <a:spAutoFit/>
          </a:bodyPr>
          <a:lstStyle/>
          <a:p>
            <a:r>
              <a:rPr lang="es-ES_tradnl" altLang="es-ES" sz="17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… OTRAS</a:t>
            </a:r>
            <a:endParaRPr lang="es-ES" altLang="es-ES" sz="1700" kern="0" dirty="0">
              <a:solidFill>
                <a:prstClr val="white"/>
              </a:solidFill>
              <a:latin typeface="Trebuchet MS" panose="020B0603020202020204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9" name="18 Rectángulo redondeado"/>
          <p:cNvSpPr/>
          <p:nvPr/>
        </p:nvSpPr>
        <p:spPr bwMode="auto">
          <a:xfrm>
            <a:off x="4716016" y="3995781"/>
            <a:ext cx="1872208" cy="1224136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hangingPunct="1">
              <a:spcAft>
                <a:spcPts val="1800"/>
              </a:spcAft>
              <a:buClr>
                <a:srgbClr val="002846"/>
              </a:buClr>
            </a:pPr>
            <a:r>
              <a:rPr lang="es-ES" altLang="es-ES" sz="1100" dirty="0">
                <a:solidFill>
                  <a:srgbClr val="043F52"/>
                </a:solidFill>
                <a:latin typeface="Arial" charset="0"/>
                <a:ea typeface="MS PGothic" pitchFamily="34" charset="-128"/>
              </a:rPr>
              <a:t>Implantación de un sistema de gestión de calidad (ISO 9000)</a:t>
            </a:r>
            <a:endParaRPr lang="es-ES_tradnl" altLang="es-ES" sz="1100" dirty="0">
              <a:solidFill>
                <a:srgbClr val="043F5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0" name="1 Rectángulo"/>
          <p:cNvSpPr>
            <a:spLocks noChangeArrowheads="1"/>
          </p:cNvSpPr>
          <p:nvPr/>
        </p:nvSpPr>
        <p:spPr bwMode="auto">
          <a:xfrm>
            <a:off x="5062866" y="3378595"/>
            <a:ext cx="1178508" cy="615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5" rIns="91430" bIns="45715">
            <a:spAutoFit/>
          </a:bodyPr>
          <a:lstStyle/>
          <a:p>
            <a:pPr algn="ctr"/>
            <a:r>
              <a:rPr lang="es-ES_tradnl" altLang="es-ES" sz="17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CALIDAD</a:t>
            </a:r>
          </a:p>
          <a:p>
            <a:pPr algn="ctr"/>
            <a:r>
              <a:rPr lang="es-ES_tradnl" altLang="es-ES" sz="17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(ISO 9000)</a:t>
            </a:r>
            <a:endParaRPr lang="es-ES" altLang="es-ES" sz="1700" kern="0" dirty="0">
              <a:solidFill>
                <a:prstClr val="white"/>
              </a:solidFill>
              <a:latin typeface="Trebuchet MS" panose="020B0603020202020204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1" name="20 Rectángulo redondeado"/>
          <p:cNvSpPr/>
          <p:nvPr/>
        </p:nvSpPr>
        <p:spPr bwMode="auto">
          <a:xfrm>
            <a:off x="6948264" y="4005064"/>
            <a:ext cx="1872208" cy="1224136"/>
          </a:xfrm>
          <a:prstGeom prst="roundRect">
            <a:avLst/>
          </a:prstGeom>
          <a:solidFill>
            <a:schemeClr val="tx1">
              <a:lumMod val="25000"/>
              <a:lumOff val="75000"/>
            </a:scheme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hangingPunct="1">
              <a:spcAft>
                <a:spcPts val="1800"/>
              </a:spcAft>
              <a:buClr>
                <a:srgbClr val="002846"/>
              </a:buClr>
            </a:pPr>
            <a:r>
              <a:rPr lang="es-ES" altLang="es-ES" sz="1100" dirty="0">
                <a:solidFill>
                  <a:srgbClr val="043F52"/>
                </a:solidFill>
                <a:latin typeface="Arial" charset="0"/>
                <a:ea typeface="MS PGothic" pitchFamily="34" charset="-128"/>
              </a:rPr>
              <a:t>Implantación de un sistema de gestión COMPLIANCE PENAL</a:t>
            </a:r>
            <a:endParaRPr lang="es-ES_tradnl" altLang="es-ES" sz="1100" dirty="0">
              <a:solidFill>
                <a:srgbClr val="043F52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2" name="1 Rectángulo"/>
          <p:cNvSpPr>
            <a:spLocks noChangeArrowheads="1"/>
          </p:cNvSpPr>
          <p:nvPr/>
        </p:nvSpPr>
        <p:spPr bwMode="auto">
          <a:xfrm>
            <a:off x="7187453" y="3389521"/>
            <a:ext cx="1424143" cy="615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5" rIns="91430" bIns="45715">
            <a:spAutoFit/>
          </a:bodyPr>
          <a:lstStyle/>
          <a:p>
            <a:pPr algn="ctr"/>
            <a:r>
              <a:rPr lang="es-ES_tradnl" altLang="es-ES" sz="17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COMPLIANCE </a:t>
            </a:r>
          </a:p>
          <a:p>
            <a:pPr algn="ctr"/>
            <a:r>
              <a:rPr lang="es-ES_tradnl" altLang="es-ES" sz="1700" kern="0" dirty="0">
                <a:solidFill>
                  <a:prstClr val="white"/>
                </a:solidFill>
                <a:latin typeface="Trebuchet MS" panose="020B0603020202020204" pitchFamily="34" charset="0"/>
                <a:ea typeface="MS PGothic" pitchFamily="34" charset="-128"/>
                <a:cs typeface="+mn-cs"/>
              </a:rPr>
              <a:t>PENAL</a:t>
            </a:r>
            <a:endParaRPr lang="es-ES" altLang="es-ES" sz="1700" kern="0" dirty="0">
              <a:solidFill>
                <a:prstClr val="white"/>
              </a:solidFill>
              <a:latin typeface="Trebuchet MS" panose="020B0603020202020204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069259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theme/theme1.xml><?xml version="1.0" encoding="utf-8"?>
<a:theme xmlns:a="http://schemas.openxmlformats.org/drawingml/2006/main" name="1_Tema de Office">
  <a:themeElements>
    <a:clrScheme name="">
      <a:dk1>
        <a:srgbClr val="000000"/>
      </a:dk1>
      <a:lt1>
        <a:srgbClr val="003245"/>
      </a:lt1>
      <a:dk2>
        <a:srgbClr val="A7A7A7"/>
      </a:dk2>
      <a:lt2>
        <a:srgbClr val="535353"/>
      </a:lt2>
      <a:accent1>
        <a:srgbClr val="003245"/>
      </a:accent1>
      <a:accent2>
        <a:srgbClr val="006476"/>
      </a:accent2>
      <a:accent3>
        <a:srgbClr val="AAADB0"/>
      </a:accent3>
      <a:accent4>
        <a:srgbClr val="000000"/>
      </a:accent4>
      <a:accent5>
        <a:srgbClr val="AAADB0"/>
      </a:accent5>
      <a:accent6>
        <a:srgbClr val="005A6A"/>
      </a:accent6>
      <a:hlink>
        <a:srgbClr val="0000FF"/>
      </a:hlink>
      <a:folHlink>
        <a:srgbClr val="FF00FF"/>
      </a:folHlink>
    </a:clrScheme>
    <a:fontScheme name="Tema de Office">
      <a:majorFont>
        <a:latin typeface="Helvetica"/>
        <a:ea typeface="Helvetica"/>
        <a:cs typeface="Helvetica"/>
      </a:majorFont>
      <a:minorFont>
        <a:latin typeface="Helvetica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25400" cap="flat" cmpd="sng" algn="ctr">
          <a:solidFill>
            <a:srgbClr val="003245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60070" tIns="60070" rIns="60070" bIns="60070" numCol="1" anchor="ctr" anchorCtr="0" compatLnSpc="1">
        <a:prstTxWarp prst="textNoShape">
          <a:avLst/>
        </a:prstTxWarp>
      </a:bodyPr>
      <a:lstStyle>
        <a:defPPr marL="457200" marR="0" indent="0" algn="l" defTabSz="9144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5600" b="0" i="0" u="none" strike="noStrike" cap="none" normalizeH="0" baseline="0" smtClean="0">
            <a:ln>
              <a:noFill/>
            </a:ln>
            <a:solidFill>
              <a:srgbClr val="FFFFFF"/>
            </a:solidFill>
            <a:effectLst/>
            <a:latin typeface="Telefonica Headline Light" pitchFamily="2" charset="0"/>
            <a:ea typeface="Telefonica Headline Light" pitchFamily="2" charset="0"/>
            <a:cs typeface="Telefonica Headline Light" pitchFamily="2" charset="0"/>
            <a:sym typeface="Telefonica Headline 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25400" cap="flat" cmpd="sng" algn="ctr">
          <a:solidFill>
            <a:srgbClr val="003245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60070" tIns="60070" rIns="60070" bIns="60070" numCol="1" anchor="ctr" anchorCtr="0" compatLnSpc="1">
        <a:prstTxWarp prst="textNoShape">
          <a:avLst/>
        </a:prstTxWarp>
      </a:bodyPr>
      <a:lstStyle>
        <a:defPPr marL="457200" marR="0" indent="0" algn="l" defTabSz="9144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5600" b="0" i="0" u="none" strike="noStrike" cap="none" normalizeH="0" baseline="0" smtClean="0">
            <a:ln>
              <a:noFill/>
            </a:ln>
            <a:solidFill>
              <a:srgbClr val="FFFFFF"/>
            </a:solidFill>
            <a:effectLst/>
            <a:latin typeface="Telefonica Headline Light" pitchFamily="2" charset="0"/>
            <a:ea typeface="Telefonica Headline Light" pitchFamily="2" charset="0"/>
            <a:cs typeface="Telefonica Headline Light" pitchFamily="2" charset="0"/>
            <a:sym typeface="Telefonica Headline Light" pitchFamily="2" charset="0"/>
          </a:defRPr>
        </a:defPPr>
      </a:lstStyle>
    </a:lnDef>
  </a:objectDefaults>
  <a:extraClrSchemeLst/>
</a:theme>
</file>

<file path=ppt/theme/theme10.xml><?xml version="1.0" encoding="utf-8"?>
<a:theme xmlns:a="http://schemas.openxmlformats.org/drawingml/2006/main" name="7_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E3444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ln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E3444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6_Telefónica - Título y subtítulo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>
            <a:lumMod val="75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ítulo y subtítul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Titulo Charl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3245"/>
      </a:accent1>
      <a:accent2>
        <a:srgbClr val="006476"/>
      </a:accent2>
      <a:accent3>
        <a:srgbClr val="FFFFFF"/>
      </a:accent3>
      <a:accent4>
        <a:srgbClr val="000000"/>
      </a:accent4>
      <a:accent5>
        <a:srgbClr val="AAADB0"/>
      </a:accent5>
      <a:accent6>
        <a:srgbClr val="005A6A"/>
      </a:accent6>
      <a:hlink>
        <a:srgbClr val="0000FF"/>
      </a:hlink>
      <a:folHlink>
        <a:srgbClr val="FF00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lefonica_Pallete_productor_150pp">
  <a:themeElements>
    <a:clrScheme name="TEFCORP10 15">
      <a:dk1>
        <a:srgbClr val="043F52"/>
      </a:dk1>
      <a:lt1>
        <a:srgbClr val="FFFFFF"/>
      </a:lt1>
      <a:dk2>
        <a:srgbClr val="61B8CD"/>
      </a:dk2>
      <a:lt2>
        <a:srgbClr val="EEECE1"/>
      </a:lt2>
      <a:accent1>
        <a:srgbClr val="043F52"/>
      </a:accent1>
      <a:accent2>
        <a:srgbClr val="61B8CD"/>
      </a:accent2>
      <a:accent3>
        <a:srgbClr val="FFFFFF"/>
      </a:accent3>
      <a:accent4>
        <a:srgbClr val="033445"/>
      </a:accent4>
      <a:accent5>
        <a:srgbClr val="AAAFB3"/>
      </a:accent5>
      <a:accent6>
        <a:srgbClr val="57A6BA"/>
      </a:accent6>
      <a:hlink>
        <a:srgbClr val="FFFFCC"/>
      </a:hlink>
      <a:folHlink>
        <a:srgbClr val="D2A85D"/>
      </a:folHlink>
    </a:clrScheme>
    <a:fontScheme name="TEFCORP10">
      <a:majorFont>
        <a:latin typeface="Telefonica Headline Light"/>
        <a:ea typeface="ＭＳ Ｐゴシック"/>
        <a:cs typeface="Arial Unicode MS"/>
      </a:majorFont>
      <a:minorFont>
        <a:latin typeface="Telefonica Text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Correspondence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heSansCorrespondence" charset="0"/>
            <a:ea typeface="ＭＳ Ｐゴシック" charset="0"/>
          </a:defRPr>
        </a:defPPr>
      </a:lstStyle>
    </a:lnDef>
  </a:objectDefaults>
  <a:extraClrSchemeLst>
    <a:extraClrScheme>
      <a:clrScheme name="TEFCORP10 1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2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3">
        <a:dk1>
          <a:srgbClr val="000000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0000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4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5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6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7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8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54B4CC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4BA3B9"/>
        </a:accent6>
        <a:hlink>
          <a:srgbClr val="800080"/>
        </a:hlink>
        <a:folHlink>
          <a:srgbClr val="65C3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9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1B8CD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7A6BA"/>
        </a:accent6>
        <a:hlink>
          <a:srgbClr val="0000E1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10">
        <a:dk1>
          <a:srgbClr val="003F52"/>
        </a:dk1>
        <a:lt1>
          <a:srgbClr val="FFFFFF"/>
        </a:lt1>
        <a:dk2>
          <a:srgbClr val="65C3D5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3445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11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DDDDD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8C8C8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12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13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B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14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99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FCORP10 15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C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E3444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>
        <a:ln w="19050" cmpd="sng">
          <a:solidFill>
            <a:srgbClr val="FFFFFF"/>
          </a:solidFill>
        </a:ln>
        <a:effectLst>
          <a:glow rad="101600">
            <a:schemeClr val="accent5">
              <a:satMod val="175000"/>
              <a:alpha val="40000"/>
            </a:schemeClr>
          </a:glow>
        </a:effectLst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E3444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E3444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ln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E3444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E3444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ln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E3444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Cierre Telefo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ítulo y subtítul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7_Telefonica_Eco_Template">
  <a:themeElements>
    <a:clrScheme name="TelefonicaECO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8597"/>
      </a:hlink>
      <a:folHlink>
        <a:srgbClr val="0095A7"/>
      </a:folHlink>
    </a:clrScheme>
    <a:fontScheme name="TelefonicaTrebuchet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28575" algn="ctr">
          <a:noFill/>
          <a:miter lim="800000"/>
          <a:headEnd/>
          <a:tailEnd/>
        </a:ln>
        <a:effectLst/>
      </a:spPr>
      <a:bodyPr lIns="126000" tIns="0" rIns="18000" bIns="0" rtlCol="0" anchor="ctr"/>
      <a:lstStyle>
        <a:defPPr algn="ctr" eaLnBrk="0" fontAlgn="base" hangingPunct="0">
          <a:spcBef>
            <a:spcPct val="0"/>
          </a:spcBef>
          <a:spcAft>
            <a:spcPct val="0"/>
          </a:spcAft>
          <a:defRPr sz="1200" dirty="0" err="1" smtClean="0">
            <a:solidFill>
              <a:srgbClr val="FFFFFF"/>
            </a:solidFill>
          </a:defRPr>
        </a:defPPr>
      </a:lst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8.xml><?xml version="1.0" encoding="utf-8"?>
<a:theme xmlns:a="http://schemas.openxmlformats.org/drawingml/2006/main" name="5_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E3444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ln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E3444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Telefó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SeparataAzu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544</TotalTime>
  <Words>546</Words>
  <Application>Microsoft Office PowerPoint</Application>
  <PresentationFormat>Presentación en pantalla (4:3)</PresentationFormat>
  <Paragraphs>84</Paragraphs>
  <Slides>7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13</vt:i4>
      </vt:variant>
      <vt:variant>
        <vt:lpstr>Tema</vt:lpstr>
      </vt:variant>
      <vt:variant>
        <vt:i4>1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33" baseType="lpstr">
      <vt:lpstr>Arial</vt:lpstr>
      <vt:lpstr>Arial Bold</vt:lpstr>
      <vt:lpstr>Avenir</vt:lpstr>
      <vt:lpstr>Gill Sans</vt:lpstr>
      <vt:lpstr>Helvetica</vt:lpstr>
      <vt:lpstr>Lucida Grande</vt:lpstr>
      <vt:lpstr>Segoe Print</vt:lpstr>
      <vt:lpstr>Telefonica Headline Light</vt:lpstr>
      <vt:lpstr>Telefonica Text</vt:lpstr>
      <vt:lpstr>TheSansCorrespondence</vt:lpstr>
      <vt:lpstr>Trebuchet MS</vt:lpstr>
      <vt:lpstr>Wingdings</vt:lpstr>
      <vt:lpstr>Wingdings 3</vt:lpstr>
      <vt:lpstr>1_Tema de Office</vt:lpstr>
      <vt:lpstr>Telefonica_Pallete_productor_150pp</vt:lpstr>
      <vt:lpstr>Diseño personalizado</vt:lpstr>
      <vt:lpstr>1_Diseño personalizado</vt:lpstr>
      <vt:lpstr>2_Diseño personalizado</vt:lpstr>
      <vt:lpstr>1_Cierre Telefonica</vt:lpstr>
      <vt:lpstr>57_Telefonica_Eco_Template</vt:lpstr>
      <vt:lpstr>5_Diseño personalizado</vt:lpstr>
      <vt:lpstr>1_Telefónica</vt:lpstr>
      <vt:lpstr>7_Diseño personalizado</vt:lpstr>
      <vt:lpstr>6_Telefónica - Título y subtítulo</vt:lpstr>
      <vt:lpstr>Titulo Charla</vt:lpstr>
      <vt:lpstr>think-cell Slide</vt:lpstr>
      <vt:lpstr>Gobierno, Riesgo y Cumplimiento Gobierno de la Seguridad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GIL OLEA, ICIAR MARIA</dc:creator>
  <cp:lastModifiedBy>Guille tv</cp:lastModifiedBy>
  <cp:revision>512</cp:revision>
  <cp:lastPrinted>2015-05-18T06:00:10Z</cp:lastPrinted>
  <dcterms:modified xsi:type="dcterms:W3CDTF">2019-01-09T17:08:39Z</dcterms:modified>
</cp:coreProperties>
</file>